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2.xml" ContentType="application/vnd.openxmlformats-officedocument.themeOverr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3.xml" ContentType="application/vnd.openxmlformats-officedocument.themeOverrid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4.xml" ContentType="application/vnd.openxmlformats-officedocument.themeOverride+xml"/>
  <Override PartName="/ppt/drawings/drawing2.xml" ContentType="application/vnd.openxmlformats-officedocument.drawingml.chartshapes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5.xml" ContentType="application/vnd.openxmlformats-officedocument.themeOverride+xml"/>
  <Override PartName="/ppt/drawings/drawing3.xml" ContentType="application/vnd.openxmlformats-officedocument.drawingml.chartshapes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6.xml" ContentType="application/vnd.openxmlformats-officedocument.themeOverrid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7.xml" ContentType="application/vnd.openxmlformats-officedocument.themeOverride+xml"/>
  <Override PartName="/ppt/drawings/drawing4.xml" ContentType="application/vnd.openxmlformats-officedocument.drawingml.chartshapes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8.xml" ContentType="application/vnd.openxmlformats-officedocument.themeOverrid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5.xml" ContentType="application/vnd.openxmlformats-officedocument.drawingml.chartshape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6.xml" ContentType="application/vnd.openxmlformats-officedocument.drawingml.chartshapes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drawings/drawing7.xml" ContentType="application/vnd.openxmlformats-officedocument.drawingml.chartshapes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drawings/drawing8.xml" ContentType="application/vnd.openxmlformats-officedocument.drawingml.chartshapes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drawings/drawing9.xml" ContentType="application/vnd.openxmlformats-officedocument.drawingml.chartshapes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drawings/drawing10.xml" ContentType="application/vnd.openxmlformats-officedocument.drawingml.chartshapes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drawings/drawing11.xml" ContentType="application/vnd.openxmlformats-officedocument.drawingml.chartshapes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drawings/drawing12.xml" ContentType="application/vnd.openxmlformats-officedocument.drawingml.chartshapes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drawings/drawing13.xml" ContentType="application/vnd.openxmlformats-officedocument.drawingml.chartshapes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drawings/drawing14.xml" ContentType="application/vnd.openxmlformats-officedocument.drawingml.chartshapes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drawings/drawing15.xml" ContentType="application/vnd.openxmlformats-officedocument.drawingml.chartshapes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drawings/drawing16.xml" ContentType="application/vnd.openxmlformats-officedocument.drawingml.chartshapes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17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</p:sldMasterIdLst>
  <p:notesMasterIdLst>
    <p:notesMasterId r:id="rId38"/>
  </p:notesMasterIdLst>
  <p:handoutMasterIdLst>
    <p:handoutMasterId r:id="rId39"/>
  </p:handoutMasterIdLst>
  <p:sldIdLst>
    <p:sldId id="368" r:id="rId2"/>
    <p:sldId id="369" r:id="rId3"/>
    <p:sldId id="370" r:id="rId4"/>
    <p:sldId id="371" r:id="rId5"/>
    <p:sldId id="373" r:id="rId6"/>
    <p:sldId id="793" r:id="rId7"/>
    <p:sldId id="796" r:id="rId8"/>
    <p:sldId id="376" r:id="rId9"/>
    <p:sldId id="349" r:id="rId10"/>
    <p:sldId id="799" r:id="rId11"/>
    <p:sldId id="801" r:id="rId12"/>
    <p:sldId id="802" r:id="rId13"/>
    <p:sldId id="803" r:id="rId14"/>
    <p:sldId id="804" r:id="rId15"/>
    <p:sldId id="805" r:id="rId16"/>
    <p:sldId id="808" r:id="rId17"/>
    <p:sldId id="819" r:id="rId18"/>
    <p:sldId id="820" r:id="rId19"/>
    <p:sldId id="824" r:id="rId20"/>
    <p:sldId id="380" r:id="rId21"/>
    <p:sldId id="821" r:id="rId22"/>
    <p:sldId id="822" r:id="rId23"/>
    <p:sldId id="823" r:id="rId24"/>
    <p:sldId id="810" r:id="rId25"/>
    <p:sldId id="811" r:id="rId26"/>
    <p:sldId id="812" r:id="rId27"/>
    <p:sldId id="813" r:id="rId28"/>
    <p:sldId id="814" r:id="rId29"/>
    <p:sldId id="815" r:id="rId30"/>
    <p:sldId id="816" r:id="rId31"/>
    <p:sldId id="417" r:id="rId32"/>
    <p:sldId id="809" r:id="rId33"/>
    <p:sldId id="817" r:id="rId34"/>
    <p:sldId id="818" r:id="rId35"/>
    <p:sldId id="426" r:id="rId36"/>
    <p:sldId id="427" r:id="rId37"/>
  </p:sldIdLst>
  <p:sldSz cx="12069763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2" userDrawn="1">
          <p15:clr>
            <a:srgbClr val="A4A3A4"/>
          </p15:clr>
        </p15:guide>
        <p15:guide id="2" orient="horz" pos="672" userDrawn="1">
          <p15:clr>
            <a:srgbClr val="A4A3A4"/>
          </p15:clr>
        </p15:guide>
        <p15:guide id="3" pos="153">
          <p15:clr>
            <a:srgbClr val="A4A3A4"/>
          </p15:clr>
        </p15:guide>
        <p15:guide id="4" pos="7402" userDrawn="1">
          <p15:clr>
            <a:srgbClr val="A4A3A4"/>
          </p15:clr>
        </p15:guide>
        <p15:guide id="5" orient="horz" pos="816" userDrawn="1">
          <p15:clr>
            <a:srgbClr val="A4A3A4"/>
          </p15:clr>
        </p15:guide>
        <p15:guide id="6" orient="horz" pos="3803" userDrawn="1">
          <p15:clr>
            <a:srgbClr val="A4A3A4"/>
          </p15:clr>
        </p15:guide>
        <p15:guide id="7" orient="horz" pos="2832" userDrawn="1">
          <p15:clr>
            <a:srgbClr val="A4A3A4"/>
          </p15:clr>
        </p15:guide>
        <p15:guide id="8" orient="horz" pos="1125" userDrawn="1">
          <p15:clr>
            <a:srgbClr val="A4A3A4"/>
          </p15:clr>
        </p15:guide>
        <p15:guide id="9" pos="606" userDrawn="1">
          <p15:clr>
            <a:srgbClr val="A4A3A4"/>
          </p15:clr>
        </p15:guide>
        <p15:guide id="10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2021"/>
    <a:srgbClr val="76923C"/>
    <a:srgbClr val="0F213A"/>
    <a:srgbClr val="00B050"/>
    <a:srgbClr val="5C702C"/>
    <a:srgbClr val="EAB68B"/>
    <a:srgbClr val="FFFF06"/>
    <a:srgbClr val="ADA785"/>
    <a:srgbClr val="ED8556"/>
    <a:srgbClr val="EC7E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44" autoAdjust="0"/>
    <p:restoredTop sz="93634" autoAdjust="0"/>
  </p:normalViewPr>
  <p:slideViewPr>
    <p:cSldViewPr showGuides="1">
      <p:cViewPr varScale="1">
        <p:scale>
          <a:sx n="65" d="100"/>
          <a:sy n="65" d="100"/>
        </p:scale>
        <p:origin x="1308" y="66"/>
      </p:cViewPr>
      <p:guideLst>
        <p:guide orient="horz" pos="2352"/>
        <p:guide orient="horz" pos="672"/>
        <p:guide pos="153"/>
        <p:guide pos="7402"/>
        <p:guide orient="horz" pos="816"/>
        <p:guide orient="horz" pos="3803"/>
        <p:guide orient="horz" pos="2832"/>
        <p:guide orient="horz" pos="1125"/>
        <p:guide pos="606"/>
        <p:guide orient="horz" pos="3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83" d="80"/>
        <a:sy n="83" d="80"/>
      </p:scale>
      <p:origin x="0" y="-5856"/>
    </p:cViewPr>
  </p:sorterViewPr>
  <p:notesViewPr>
    <p:cSldViewPr showGuides="1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2.xml"/><Relationship Id="rId1" Type="http://schemas.microsoft.com/office/2011/relationships/chartStyle" Target="style12.xml"/><Relationship Id="rId5" Type="http://schemas.openxmlformats.org/officeDocument/2006/relationships/chartUserShapes" Target="../drawings/drawing3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4.xml"/><Relationship Id="rId1" Type="http://schemas.microsoft.com/office/2011/relationships/chartStyle" Target="style14.xml"/><Relationship Id="rId5" Type="http://schemas.openxmlformats.org/officeDocument/2006/relationships/chartUserShapes" Target="../drawings/drawing4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5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6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chartUserShapes" Target="../drawings/drawing7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chartUserShapes" Target="../drawings/drawing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chartUserShapes" Target="../drawings/drawing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chartUserShapes" Target="../drawings/drawing1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chartUserShapes" Target="../drawings/drawing1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chartUserShapes" Target="../drawings/drawing1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chartUserShapes" Target="../drawings/drawing1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chartUserShapes" Target="../drawings/drawing1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6.xml"/><Relationship Id="rId1" Type="http://schemas.microsoft.com/office/2011/relationships/chartStyle" Target="style26.xml"/><Relationship Id="rId4" Type="http://schemas.openxmlformats.org/officeDocument/2006/relationships/chartUserShapes" Target="../drawings/drawing1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chartUserShapes" Target="../drawings/drawing1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1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344570492729763E-2"/>
          <c:y val="0.13741191333323774"/>
          <c:w val="0.91796360329660465"/>
          <c:h val="0.502376794266618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rro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D$2:$D$158</c:f>
              <c:numCache>
                <c:formatCode>0.000</c:formatCode>
                <c:ptCount val="156"/>
                <c:pt idx="0">
                  <c:v>638.15171330000021</c:v>
                </c:pt>
                <c:pt idx="1">
                  <c:v>16.396888599999784</c:v>
                </c:pt>
                <c:pt idx="2">
                  <c:v>246.60474400000021</c:v>
                </c:pt>
                <c:pt idx="3">
                  <c:v>-220.08256160000019</c:v>
                </c:pt>
                <c:pt idx="4">
                  <c:v>-406.99028920000001</c:v>
                </c:pt>
                <c:pt idx="5">
                  <c:v>-698.75503219999973</c:v>
                </c:pt>
                <c:pt idx="6">
                  <c:v>-143.53021940000008</c:v>
                </c:pt>
                <c:pt idx="7">
                  <c:v>77.919562800000222</c:v>
                </c:pt>
                <c:pt idx="8">
                  <c:v>-61.038401399999657</c:v>
                </c:pt>
                <c:pt idx="9">
                  <c:v>-65.158639899999798</c:v>
                </c:pt>
                <c:pt idx="10">
                  <c:v>-101.28145779999977</c:v>
                </c:pt>
                <c:pt idx="11">
                  <c:v>-93.112741599999936</c:v>
                </c:pt>
                <c:pt idx="12">
                  <c:v>4.1817356000001382</c:v>
                </c:pt>
                <c:pt idx="13">
                  <c:v>-19.862332299999707</c:v>
                </c:pt>
                <c:pt idx="14">
                  <c:v>103.1288798999999</c:v>
                </c:pt>
                <c:pt idx="15">
                  <c:v>-348.93600949999973</c:v>
                </c:pt>
                <c:pt idx="16">
                  <c:v>408.69003440000006</c:v>
                </c:pt>
                <c:pt idx="17">
                  <c:v>-609.42790929999956</c:v>
                </c:pt>
                <c:pt idx="18">
                  <c:v>-741.98504379999986</c:v>
                </c:pt>
                <c:pt idx="19">
                  <c:v>-638.00058819999958</c:v>
                </c:pt>
                <c:pt idx="20">
                  <c:v>-474.46856969999999</c:v>
                </c:pt>
                <c:pt idx="21">
                  <c:v>-322.71221760000026</c:v>
                </c:pt>
                <c:pt idx="22">
                  <c:v>-92.194590999999946</c:v>
                </c:pt>
                <c:pt idx="23">
                  <c:v>-131.01431419999972</c:v>
                </c:pt>
                <c:pt idx="24">
                  <c:v>-456.14763240000002</c:v>
                </c:pt>
                <c:pt idx="25">
                  <c:v>-425.24710800000003</c:v>
                </c:pt>
                <c:pt idx="26">
                  <c:v>-187.68468180000036</c:v>
                </c:pt>
                <c:pt idx="27">
                  <c:v>-11.835454200000186</c:v>
                </c:pt>
                <c:pt idx="28">
                  <c:v>120.2772731</c:v>
                </c:pt>
                <c:pt idx="29">
                  <c:v>227.39150989999985</c:v>
                </c:pt>
                <c:pt idx="30">
                  <c:v>-88.289046999999982</c:v>
                </c:pt>
                <c:pt idx="31">
                  <c:v>-71.130691500000012</c:v>
                </c:pt>
                <c:pt idx="32">
                  <c:v>-138.02985360000002</c:v>
                </c:pt>
                <c:pt idx="33">
                  <c:v>82.979965399999855</c:v>
                </c:pt>
                <c:pt idx="34">
                  <c:v>73.540652399999999</c:v>
                </c:pt>
                <c:pt idx="35">
                  <c:v>11.189677500000016</c:v>
                </c:pt>
                <c:pt idx="36">
                  <c:v>-140.76888150000013</c:v>
                </c:pt>
                <c:pt idx="37">
                  <c:v>98.312220100000104</c:v>
                </c:pt>
                <c:pt idx="38">
                  <c:v>147.25561059999973</c:v>
                </c:pt>
                <c:pt idx="39">
                  <c:v>-262.5785636999999</c:v>
                </c:pt>
                <c:pt idx="40">
                  <c:v>-9.151245999999901</c:v>
                </c:pt>
                <c:pt idx="41">
                  <c:v>315.28353129999959</c:v>
                </c:pt>
                <c:pt idx="42">
                  <c:v>312.87311869999985</c:v>
                </c:pt>
                <c:pt idx="43">
                  <c:v>-24.827256399999897</c:v>
                </c:pt>
                <c:pt idx="44">
                  <c:v>455.44635990000006</c:v>
                </c:pt>
                <c:pt idx="45">
                  <c:v>178.92875929999991</c:v>
                </c:pt>
                <c:pt idx="46">
                  <c:v>650.50651620000008</c:v>
                </c:pt>
                <c:pt idx="47">
                  <c:v>327.98094469999978</c:v>
                </c:pt>
                <c:pt idx="48">
                  <c:v>380.16068059999998</c:v>
                </c:pt>
                <c:pt idx="49">
                  <c:v>336.98863220000021</c:v>
                </c:pt>
                <c:pt idx="50">
                  <c:v>-398.8781583</c:v>
                </c:pt>
                <c:pt idx="51">
                  <c:v>2.8356499999063089E-2</c:v>
                </c:pt>
                <c:pt idx="52">
                  <c:v>722.87728680000055</c:v>
                </c:pt>
                <c:pt idx="53">
                  <c:v>-394.43503299999975</c:v>
                </c:pt>
                <c:pt idx="54">
                  <c:v>-828.79657149999957</c:v>
                </c:pt>
                <c:pt idx="55">
                  <c:v>-108.93391079999992</c:v>
                </c:pt>
                <c:pt idx="56">
                  <c:v>92.852062100000239</c:v>
                </c:pt>
                <c:pt idx="57">
                  <c:v>-68.537611199999901</c:v>
                </c:pt>
                <c:pt idx="58">
                  <c:v>-11.77148440000019</c:v>
                </c:pt>
                <c:pt idx="59">
                  <c:v>-124.67531559999998</c:v>
                </c:pt>
                <c:pt idx="60">
                  <c:v>-60.353027900000143</c:v>
                </c:pt>
                <c:pt idx="61">
                  <c:v>281.42392410000002</c:v>
                </c:pt>
                <c:pt idx="62">
                  <c:v>-436.63086680000015</c:v>
                </c:pt>
                <c:pt idx="63">
                  <c:v>-256.85904040000014</c:v>
                </c:pt>
                <c:pt idx="64">
                  <c:v>-190.36378659999991</c:v>
                </c:pt>
                <c:pt idx="65">
                  <c:v>56.966840099999899</c:v>
                </c:pt>
                <c:pt idx="66">
                  <c:v>199.42317219999995</c:v>
                </c:pt>
                <c:pt idx="67">
                  <c:v>417.07246620000024</c:v>
                </c:pt>
                <c:pt idx="68">
                  <c:v>336.61937820000003</c:v>
                </c:pt>
                <c:pt idx="69">
                  <c:v>8.2171000003654626E-3</c:v>
                </c:pt>
                <c:pt idx="70">
                  <c:v>261.74304010000014</c:v>
                </c:pt>
                <c:pt idx="71">
                  <c:v>113.34223130000009</c:v>
                </c:pt>
                <c:pt idx="72">
                  <c:v>60.076182400000107</c:v>
                </c:pt>
                <c:pt idx="73">
                  <c:v>101.71399789999987</c:v>
                </c:pt>
                <c:pt idx="74">
                  <c:v>-92.172078099999908</c:v>
                </c:pt>
                <c:pt idx="75">
                  <c:v>103.16151140000011</c:v>
                </c:pt>
                <c:pt idx="76">
                  <c:v>126.30037889999994</c:v>
                </c:pt>
                <c:pt idx="77">
                  <c:v>223.68704689999959</c:v>
                </c:pt>
                <c:pt idx="78">
                  <c:v>22.640099799999916</c:v>
                </c:pt>
                <c:pt idx="79">
                  <c:v>-80.837442300000021</c:v>
                </c:pt>
                <c:pt idx="80">
                  <c:v>374.47598049999988</c:v>
                </c:pt>
                <c:pt idx="81">
                  <c:v>-257.12974299999996</c:v>
                </c:pt>
                <c:pt idx="82">
                  <c:v>183.28063740000016</c:v>
                </c:pt>
                <c:pt idx="83">
                  <c:v>224.43697070000007</c:v>
                </c:pt>
                <c:pt idx="84">
                  <c:v>304.5185656000001</c:v>
                </c:pt>
                <c:pt idx="85">
                  <c:v>247.27886889999991</c:v>
                </c:pt>
                <c:pt idx="86">
                  <c:v>338.02538310000023</c:v>
                </c:pt>
                <c:pt idx="87">
                  <c:v>211.97586550000005</c:v>
                </c:pt>
                <c:pt idx="88">
                  <c:v>46.318214299999909</c:v>
                </c:pt>
                <c:pt idx="89">
                  <c:v>343.45547660000011</c:v>
                </c:pt>
                <c:pt idx="90">
                  <c:v>249.05910280000012</c:v>
                </c:pt>
                <c:pt idx="91">
                  <c:v>822.60069829999998</c:v>
                </c:pt>
                <c:pt idx="92">
                  <c:v>469.67381160000014</c:v>
                </c:pt>
                <c:pt idx="93">
                  <c:v>354.36851630000001</c:v>
                </c:pt>
                <c:pt idx="94">
                  <c:v>172.49808750000011</c:v>
                </c:pt>
                <c:pt idx="95">
                  <c:v>134.6464105</c:v>
                </c:pt>
                <c:pt idx="96">
                  <c:v>260.49568629999976</c:v>
                </c:pt>
                <c:pt idx="97">
                  <c:v>29.420574100000067</c:v>
                </c:pt>
                <c:pt idx="98">
                  <c:v>-493.17262370000026</c:v>
                </c:pt>
                <c:pt idx="99">
                  <c:v>112.43166359999987</c:v>
                </c:pt>
                <c:pt idx="100">
                  <c:v>-354.31258609999986</c:v>
                </c:pt>
                <c:pt idx="101">
                  <c:v>192.56462160000046</c:v>
                </c:pt>
                <c:pt idx="102">
                  <c:v>1.0089499999594409E-2</c:v>
                </c:pt>
                <c:pt idx="103">
                  <c:v>867.93083190000016</c:v>
                </c:pt>
                <c:pt idx="104">
                  <c:v>164.8434127999999</c:v>
                </c:pt>
                <c:pt idx="105">
                  <c:v>62.314473000000362</c:v>
                </c:pt>
                <c:pt idx="106">
                  <c:v>26.567561099999693</c:v>
                </c:pt>
                <c:pt idx="107">
                  <c:v>250.97121469999956</c:v>
                </c:pt>
                <c:pt idx="108">
                  <c:v>216.27764220000017</c:v>
                </c:pt>
                <c:pt idx="109">
                  <c:v>163.67503010000019</c:v>
                </c:pt>
                <c:pt idx="110">
                  <c:v>84.281321099999786</c:v>
                </c:pt>
                <c:pt idx="111">
                  <c:v>-78.248801400000048</c:v>
                </c:pt>
                <c:pt idx="112">
                  <c:v>-38.746498900000006</c:v>
                </c:pt>
                <c:pt idx="113">
                  <c:v>514.2928694000002</c:v>
                </c:pt>
                <c:pt idx="114">
                  <c:v>62.240780200000245</c:v>
                </c:pt>
                <c:pt idx="115">
                  <c:v>212.81746079999994</c:v>
                </c:pt>
                <c:pt idx="116">
                  <c:v>342.04887350000035</c:v>
                </c:pt>
                <c:pt idx="117">
                  <c:v>-30.345804399999906</c:v>
                </c:pt>
                <c:pt idx="118">
                  <c:v>-89.914205799999991</c:v>
                </c:pt>
                <c:pt idx="119">
                  <c:v>-61.846804099999872</c:v>
                </c:pt>
                <c:pt idx="120">
                  <c:v>-257.72791830000006</c:v>
                </c:pt>
                <c:pt idx="121">
                  <c:v>-257.89417759999969</c:v>
                </c:pt>
                <c:pt idx="122">
                  <c:v>140.45157559999984</c:v>
                </c:pt>
                <c:pt idx="123">
                  <c:v>-109.43628660000013</c:v>
                </c:pt>
                <c:pt idx="124">
                  <c:v>-193.57775549999997</c:v>
                </c:pt>
                <c:pt idx="125">
                  <c:v>-17.451034499999878</c:v>
                </c:pt>
                <c:pt idx="126">
                  <c:v>-12.701098500000171</c:v>
                </c:pt>
                <c:pt idx="127">
                  <c:v>-54.866839499999969</c:v>
                </c:pt>
                <c:pt idx="128">
                  <c:v>-48.422042699999793</c:v>
                </c:pt>
                <c:pt idx="129">
                  <c:v>-52.308688099999927</c:v>
                </c:pt>
                <c:pt idx="130">
                  <c:v>-72.443044800000052</c:v>
                </c:pt>
                <c:pt idx="131">
                  <c:v>-37.502967899999931</c:v>
                </c:pt>
                <c:pt idx="132">
                  <c:v>-3.1242459000000053</c:v>
                </c:pt>
                <c:pt idx="133">
                  <c:v>27.633541200000082</c:v>
                </c:pt>
                <c:pt idx="134">
                  <c:v>-304.21899699999994</c:v>
                </c:pt>
                <c:pt idx="135">
                  <c:v>-18.798380199999883</c:v>
                </c:pt>
                <c:pt idx="136">
                  <c:v>-17.437612499999886</c:v>
                </c:pt>
                <c:pt idx="137">
                  <c:v>53.658326600000009</c:v>
                </c:pt>
                <c:pt idx="138">
                  <c:v>-4.2933331000001544</c:v>
                </c:pt>
                <c:pt idx="139">
                  <c:v>106.37009469999998</c:v>
                </c:pt>
                <c:pt idx="140">
                  <c:v>-124.3005783000001</c:v>
                </c:pt>
                <c:pt idx="141">
                  <c:v>-169.34220290000007</c:v>
                </c:pt>
                <c:pt idx="142">
                  <c:v>-47.364995700000009</c:v>
                </c:pt>
                <c:pt idx="143">
                  <c:v>-137.19181219999996</c:v>
                </c:pt>
                <c:pt idx="144">
                  <c:v>-288.18529439999998</c:v>
                </c:pt>
                <c:pt idx="145">
                  <c:v>-163.06922639999993</c:v>
                </c:pt>
                <c:pt idx="146">
                  <c:v>-13.797662599999967</c:v>
                </c:pt>
                <c:pt idx="147">
                  <c:v>-225.98740980000002</c:v>
                </c:pt>
                <c:pt idx="148">
                  <c:v>-413.73543370000016</c:v>
                </c:pt>
                <c:pt idx="149">
                  <c:v>-251.62303919999999</c:v>
                </c:pt>
                <c:pt idx="150">
                  <c:v>-420.49977660000013</c:v>
                </c:pt>
                <c:pt idx="151">
                  <c:v>-731.78874320000023</c:v>
                </c:pt>
                <c:pt idx="152">
                  <c:v>-811.74807269999974</c:v>
                </c:pt>
                <c:pt idx="153">
                  <c:v>686.39954510000007</c:v>
                </c:pt>
                <c:pt idx="154">
                  <c:v>-409.99715490000062</c:v>
                </c:pt>
                <c:pt idx="155">
                  <c:v>-276.3964273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28-4D3A-9BA1-6E0FCC92F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955199408"/>
        <c:axId val="-95519288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 cmpd="sng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B$2:$B$158</c:f>
              <c:numCache>
                <c:formatCode>_(* #,##0_);_(* \(#,##0\);_(* "-"_);_(@_)</c:formatCode>
                <c:ptCount val="156"/>
                <c:pt idx="0">
                  <c:v>3263.3362000000002</c:v>
                </c:pt>
                <c:pt idx="1">
                  <c:v>3421.3026</c:v>
                </c:pt>
                <c:pt idx="2">
                  <c:v>3393.0688</c:v>
                </c:pt>
                <c:pt idx="3">
                  <c:v>3188.2903999999999</c:v>
                </c:pt>
                <c:pt idx="4">
                  <c:v>2747.8924000000002</c:v>
                </c:pt>
                <c:pt idx="5">
                  <c:v>3057.8366000000001</c:v>
                </c:pt>
                <c:pt idx="6">
                  <c:v>3139.7464</c:v>
                </c:pt>
                <c:pt idx="7">
                  <c:v>3260.9104000000002</c:v>
                </c:pt>
                <c:pt idx="8">
                  <c:v>3272.5954000000002</c:v>
                </c:pt>
                <c:pt idx="9">
                  <c:v>3435.9016000000001</c:v>
                </c:pt>
                <c:pt idx="10">
                  <c:v>3799.297</c:v>
                </c:pt>
                <c:pt idx="11">
                  <c:v>3630.0434</c:v>
                </c:pt>
                <c:pt idx="12">
                  <c:v>3265.643</c:v>
                </c:pt>
                <c:pt idx="13">
                  <c:v>2913.1082000000001</c:v>
                </c:pt>
                <c:pt idx="14">
                  <c:v>3123.5473999999999</c:v>
                </c:pt>
                <c:pt idx="15">
                  <c:v>2910.5718000000002</c:v>
                </c:pt>
                <c:pt idx="16">
                  <c:v>3988.79</c:v>
                </c:pt>
                <c:pt idx="17">
                  <c:v>3560.835</c:v>
                </c:pt>
                <c:pt idx="18">
                  <c:v>2444.9870000000001</c:v>
                </c:pt>
                <c:pt idx="19">
                  <c:v>2062.4340000000002</c:v>
                </c:pt>
                <c:pt idx="20">
                  <c:v>2370.2249999999999</c:v>
                </c:pt>
                <c:pt idx="21">
                  <c:v>2333.4009999999998</c:v>
                </c:pt>
                <c:pt idx="22">
                  <c:v>2636.5880000000002</c:v>
                </c:pt>
                <c:pt idx="23">
                  <c:v>2338.3620000000001</c:v>
                </c:pt>
                <c:pt idx="24">
                  <c:v>2119.8870000000002</c:v>
                </c:pt>
                <c:pt idx="25">
                  <c:v>2138.6091999999999</c:v>
                </c:pt>
                <c:pt idx="26">
                  <c:v>2368.1999999999998</c:v>
                </c:pt>
                <c:pt idx="27">
                  <c:v>2907.0601999999999</c:v>
                </c:pt>
                <c:pt idx="28">
                  <c:v>2629.5998</c:v>
                </c:pt>
                <c:pt idx="29">
                  <c:v>2099.4533999999999</c:v>
                </c:pt>
                <c:pt idx="30">
                  <c:v>1787.5029910999999</c:v>
                </c:pt>
                <c:pt idx="31">
                  <c:v>2088.5522922</c:v>
                </c:pt>
                <c:pt idx="32">
                  <c:v>1776.6108254999999</c:v>
                </c:pt>
                <c:pt idx="33">
                  <c:v>2039.9804532999999</c:v>
                </c:pt>
                <c:pt idx="34">
                  <c:v>2400.1203177000002</c:v>
                </c:pt>
                <c:pt idx="35">
                  <c:v>2209.0785933000002</c:v>
                </c:pt>
                <c:pt idx="36">
                  <c:v>2719.6609991999999</c:v>
                </c:pt>
                <c:pt idx="37">
                  <c:v>3286.1407745000001</c:v>
                </c:pt>
                <c:pt idx="38">
                  <c:v>2595.6002432999999</c:v>
                </c:pt>
                <c:pt idx="39">
                  <c:v>2091.1566938999999</c:v>
                </c:pt>
                <c:pt idx="40">
                  <c:v>2628.4198000000001</c:v>
                </c:pt>
                <c:pt idx="41">
                  <c:v>3030.4119999999998</c:v>
                </c:pt>
                <c:pt idx="42">
                  <c:v>2893.9313999999999</c:v>
                </c:pt>
                <c:pt idx="43">
                  <c:v>3303.7620000000002</c:v>
                </c:pt>
                <c:pt idx="44">
                  <c:v>3343.6831999999999</c:v>
                </c:pt>
                <c:pt idx="45">
                  <c:v>3508.569</c:v>
                </c:pt>
                <c:pt idx="46">
                  <c:v>4228.7539999999999</c:v>
                </c:pt>
                <c:pt idx="47">
                  <c:v>4923.6319999999996</c:v>
                </c:pt>
                <c:pt idx="48">
                  <c:v>5410.9359999999997</c:v>
                </c:pt>
                <c:pt idx="49">
                  <c:v>5673.9470000000001</c:v>
                </c:pt>
                <c:pt idx="50">
                  <c:v>5300.9369999999999</c:v>
                </c:pt>
                <c:pt idx="51">
                  <c:v>9136.7279999999992</c:v>
                </c:pt>
                <c:pt idx="52">
                  <c:v>4326.2790000000005</c:v>
                </c:pt>
                <c:pt idx="53">
                  <c:v>3749.933</c:v>
                </c:pt>
                <c:pt idx="54">
                  <c:v>3372.596</c:v>
                </c:pt>
                <c:pt idx="55">
                  <c:v>3218.8850000000002</c:v>
                </c:pt>
                <c:pt idx="56">
                  <c:v>3202.8890000000001</c:v>
                </c:pt>
                <c:pt idx="57">
                  <c:v>3133.306</c:v>
                </c:pt>
                <c:pt idx="58">
                  <c:v>2822.41</c:v>
                </c:pt>
                <c:pt idx="59">
                  <c:v>2771.2530000000002</c:v>
                </c:pt>
                <c:pt idx="60">
                  <c:v>2876.7788</c:v>
                </c:pt>
                <c:pt idx="61">
                  <c:v>3143.154</c:v>
                </c:pt>
                <c:pt idx="62">
                  <c:v>3419.8249999999998</c:v>
                </c:pt>
                <c:pt idx="63">
                  <c:v>3562.8429999999998</c:v>
                </c:pt>
                <c:pt idx="64">
                  <c:v>3158.502</c:v>
                </c:pt>
                <c:pt idx="65">
                  <c:v>3059.7860000000001</c:v>
                </c:pt>
                <c:pt idx="66">
                  <c:v>3314.3726000000001</c:v>
                </c:pt>
                <c:pt idx="67">
                  <c:v>3567.4180000000001</c:v>
                </c:pt>
                <c:pt idx="68">
                  <c:v>3901.7629999999999</c:v>
                </c:pt>
                <c:pt idx="69">
                  <c:v>5046.4160000000002</c:v>
                </c:pt>
                <c:pt idx="70">
                  <c:v>2917.4960000000001</c:v>
                </c:pt>
                <c:pt idx="71">
                  <c:v>2438.703</c:v>
                </c:pt>
                <c:pt idx="72">
                  <c:v>2513.098</c:v>
                </c:pt>
                <c:pt idx="73">
                  <c:v>2626.8847999999998</c:v>
                </c:pt>
                <c:pt idx="74">
                  <c:v>2521.5673999999999</c:v>
                </c:pt>
                <c:pt idx="75">
                  <c:v>2595.0816</c:v>
                </c:pt>
                <c:pt idx="76">
                  <c:v>2317.5666000000001</c:v>
                </c:pt>
                <c:pt idx="77">
                  <c:v>2311.7271999999998</c:v>
                </c:pt>
                <c:pt idx="78">
                  <c:v>2084.36</c:v>
                </c:pt>
                <c:pt idx="79">
                  <c:v>1803.5540000000001</c:v>
                </c:pt>
                <c:pt idx="80">
                  <c:v>2308.6379999999999</c:v>
                </c:pt>
                <c:pt idx="81">
                  <c:v>1681.4770000000001</c:v>
                </c:pt>
                <c:pt idx="82">
                  <c:v>1698.9580000000001</c:v>
                </c:pt>
                <c:pt idx="83">
                  <c:v>1965.9408000000001</c:v>
                </c:pt>
                <c:pt idx="84">
                  <c:v>1871.8240000000001</c:v>
                </c:pt>
                <c:pt idx="85">
                  <c:v>1690.0229999999999</c:v>
                </c:pt>
                <c:pt idx="86">
                  <c:v>2260.8270000000002</c:v>
                </c:pt>
                <c:pt idx="87">
                  <c:v>1901.249</c:v>
                </c:pt>
                <c:pt idx="88">
                  <c:v>2045.1849999999999</c:v>
                </c:pt>
                <c:pt idx="89">
                  <c:v>2476.0920000000001</c:v>
                </c:pt>
                <c:pt idx="90">
                  <c:v>2227.672</c:v>
                </c:pt>
                <c:pt idx="91">
                  <c:v>2680.17</c:v>
                </c:pt>
                <c:pt idx="92">
                  <c:v>2623.2429999999999</c:v>
                </c:pt>
                <c:pt idx="93">
                  <c:v>2639.86</c:v>
                </c:pt>
                <c:pt idx="94">
                  <c:v>2330.9784</c:v>
                </c:pt>
                <c:pt idx="95">
                  <c:v>2588.2671999999998</c:v>
                </c:pt>
                <c:pt idx="96">
                  <c:v>2667.4879999999998</c:v>
                </c:pt>
                <c:pt idx="97">
                  <c:v>2532.3090000000002</c:v>
                </c:pt>
                <c:pt idx="98">
                  <c:v>2690.2</c:v>
                </c:pt>
                <c:pt idx="99">
                  <c:v>3224.0569999999998</c:v>
                </c:pt>
                <c:pt idx="100">
                  <c:v>3576.201</c:v>
                </c:pt>
                <c:pt idx="101">
                  <c:v>4375.1620000000003</c:v>
                </c:pt>
                <c:pt idx="102">
                  <c:v>5466.7079999999996</c:v>
                </c:pt>
                <c:pt idx="103">
                  <c:v>5014.2961999999998</c:v>
                </c:pt>
                <c:pt idx="104">
                  <c:v>3542.346</c:v>
                </c:pt>
                <c:pt idx="105">
                  <c:v>3725.3726000000001</c:v>
                </c:pt>
                <c:pt idx="106">
                  <c:v>2888.4609999999998</c:v>
                </c:pt>
                <c:pt idx="107">
                  <c:v>2989.74</c:v>
                </c:pt>
                <c:pt idx="108">
                  <c:v>2873.759</c:v>
                </c:pt>
                <c:pt idx="109">
                  <c:v>3136.3690000000001</c:v>
                </c:pt>
                <c:pt idx="110">
                  <c:v>2806.6509999999998</c:v>
                </c:pt>
                <c:pt idx="111">
                  <c:v>2924.2049999999999</c:v>
                </c:pt>
                <c:pt idx="112">
                  <c:v>3187.7530000000002</c:v>
                </c:pt>
                <c:pt idx="113">
                  <c:v>3264.335</c:v>
                </c:pt>
                <c:pt idx="114">
                  <c:v>2798.3530000000001</c:v>
                </c:pt>
                <c:pt idx="115">
                  <c:v>2891.3319999999999</c:v>
                </c:pt>
                <c:pt idx="116">
                  <c:v>2592.2440000000001</c:v>
                </c:pt>
                <c:pt idx="117">
                  <c:v>1891.991</c:v>
                </c:pt>
                <c:pt idx="118">
                  <c:v>1919.7719999999999</c:v>
                </c:pt>
                <c:pt idx="119">
                  <c:v>1866.537</c:v>
                </c:pt>
                <c:pt idx="120">
                  <c:v>2192.3620000000001</c:v>
                </c:pt>
                <c:pt idx="121">
                  <c:v>2553.4520000000002</c:v>
                </c:pt>
                <c:pt idx="122">
                  <c:v>1684.5509999999999</c:v>
                </c:pt>
                <c:pt idx="123">
                  <c:v>1411.5029999999999</c:v>
                </c:pt>
                <c:pt idx="124">
                  <c:v>1621.7049999999999</c:v>
                </c:pt>
                <c:pt idx="125">
                  <c:v>1611.71</c:v>
                </c:pt>
                <c:pt idx="126">
                  <c:v>1987.6949999999999</c:v>
                </c:pt>
                <c:pt idx="127">
                  <c:v>1744.856</c:v>
                </c:pt>
                <c:pt idx="128">
                  <c:v>1691.4280000000001</c:v>
                </c:pt>
                <c:pt idx="129">
                  <c:v>1624.443</c:v>
                </c:pt>
                <c:pt idx="130">
                  <c:v>1637.3440000000001</c:v>
                </c:pt>
                <c:pt idx="131">
                  <c:v>1335.98</c:v>
                </c:pt>
                <c:pt idx="132">
                  <c:v>1677.19</c:v>
                </c:pt>
                <c:pt idx="133">
                  <c:v>1167.489</c:v>
                </c:pt>
                <c:pt idx="134">
                  <c:v>1192.8520000000001</c:v>
                </c:pt>
                <c:pt idx="135">
                  <c:v>1576.2460000000001</c:v>
                </c:pt>
                <c:pt idx="136">
                  <c:v>1370.89</c:v>
                </c:pt>
                <c:pt idx="137">
                  <c:v>1452.777</c:v>
                </c:pt>
                <c:pt idx="138">
                  <c:v>1730.521</c:v>
                </c:pt>
                <c:pt idx="139">
                  <c:v>1757.8789999999999</c:v>
                </c:pt>
                <c:pt idx="140">
                  <c:v>1653.616</c:v>
                </c:pt>
                <c:pt idx="141">
                  <c:v>1843.579</c:v>
                </c:pt>
                <c:pt idx="142">
                  <c:v>1722.271</c:v>
                </c:pt>
                <c:pt idx="143">
                  <c:v>1635.1020000000001</c:v>
                </c:pt>
                <c:pt idx="144">
                  <c:v>1671.557</c:v>
                </c:pt>
                <c:pt idx="145">
                  <c:v>2003.8389999999999</c:v>
                </c:pt>
                <c:pt idx="146">
                  <c:v>1944.0340000000001</c:v>
                </c:pt>
                <c:pt idx="147">
                  <c:v>2283.0810000000001</c:v>
                </c:pt>
                <c:pt idx="148">
                  <c:v>1933.105</c:v>
                </c:pt>
                <c:pt idx="149">
                  <c:v>2034.3520000000001</c:v>
                </c:pt>
                <c:pt idx="150">
                  <c:v>2289.683</c:v>
                </c:pt>
                <c:pt idx="151">
                  <c:v>2529.6529999999998</c:v>
                </c:pt>
                <c:pt idx="152">
                  <c:v>2940.13</c:v>
                </c:pt>
                <c:pt idx="153">
                  <c:v>3116.319</c:v>
                </c:pt>
                <c:pt idx="154">
                  <c:v>4092.0189999999998</c:v>
                </c:pt>
                <c:pt idx="155">
                  <c:v>3817.8809999999999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2028-4D3A-9BA1-6E0FCC92F9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6"/>
                <c:pt idx="0">
                  <c:v>43472</c:v>
                </c:pt>
                <c:pt idx="1">
                  <c:v>43479</c:v>
                </c:pt>
                <c:pt idx="2">
                  <c:v>43486</c:v>
                </c:pt>
                <c:pt idx="3">
                  <c:v>43493</c:v>
                </c:pt>
                <c:pt idx="4">
                  <c:v>43500</c:v>
                </c:pt>
                <c:pt idx="5">
                  <c:v>43507</c:v>
                </c:pt>
                <c:pt idx="6">
                  <c:v>43514</c:v>
                </c:pt>
                <c:pt idx="7">
                  <c:v>43521</c:v>
                </c:pt>
                <c:pt idx="8">
                  <c:v>43528</c:v>
                </c:pt>
                <c:pt idx="9">
                  <c:v>43535</c:v>
                </c:pt>
                <c:pt idx="10">
                  <c:v>43542</c:v>
                </c:pt>
                <c:pt idx="11">
                  <c:v>43549</c:v>
                </c:pt>
                <c:pt idx="12">
                  <c:v>43556</c:v>
                </c:pt>
                <c:pt idx="13">
                  <c:v>43563</c:v>
                </c:pt>
                <c:pt idx="14">
                  <c:v>43570</c:v>
                </c:pt>
                <c:pt idx="15">
                  <c:v>43577</c:v>
                </c:pt>
                <c:pt idx="16">
                  <c:v>43584</c:v>
                </c:pt>
                <c:pt idx="17">
                  <c:v>43591</c:v>
                </c:pt>
                <c:pt idx="18">
                  <c:v>43598</c:v>
                </c:pt>
                <c:pt idx="19">
                  <c:v>43605</c:v>
                </c:pt>
                <c:pt idx="20">
                  <c:v>43612</c:v>
                </c:pt>
                <c:pt idx="21">
                  <c:v>43619</c:v>
                </c:pt>
                <c:pt idx="22">
                  <c:v>43626</c:v>
                </c:pt>
                <c:pt idx="23">
                  <c:v>43633</c:v>
                </c:pt>
                <c:pt idx="24">
                  <c:v>43640</c:v>
                </c:pt>
                <c:pt idx="25">
                  <c:v>43647</c:v>
                </c:pt>
                <c:pt idx="26">
                  <c:v>43654</c:v>
                </c:pt>
                <c:pt idx="27">
                  <c:v>43661</c:v>
                </c:pt>
                <c:pt idx="28">
                  <c:v>43668</c:v>
                </c:pt>
                <c:pt idx="29">
                  <c:v>43675</c:v>
                </c:pt>
                <c:pt idx="30">
                  <c:v>43682</c:v>
                </c:pt>
                <c:pt idx="31">
                  <c:v>43689</c:v>
                </c:pt>
                <c:pt idx="32">
                  <c:v>43696</c:v>
                </c:pt>
                <c:pt idx="33">
                  <c:v>43703</c:v>
                </c:pt>
                <c:pt idx="34">
                  <c:v>43710</c:v>
                </c:pt>
                <c:pt idx="35">
                  <c:v>43717</c:v>
                </c:pt>
                <c:pt idx="36">
                  <c:v>43724</c:v>
                </c:pt>
                <c:pt idx="37">
                  <c:v>43731</c:v>
                </c:pt>
                <c:pt idx="38">
                  <c:v>43738</c:v>
                </c:pt>
                <c:pt idx="39">
                  <c:v>43745</c:v>
                </c:pt>
                <c:pt idx="40">
                  <c:v>43752</c:v>
                </c:pt>
                <c:pt idx="41">
                  <c:v>43759</c:v>
                </c:pt>
                <c:pt idx="42">
                  <c:v>43766</c:v>
                </c:pt>
                <c:pt idx="43">
                  <c:v>43773</c:v>
                </c:pt>
                <c:pt idx="44">
                  <c:v>43780</c:v>
                </c:pt>
                <c:pt idx="45">
                  <c:v>43787</c:v>
                </c:pt>
                <c:pt idx="46">
                  <c:v>43794</c:v>
                </c:pt>
                <c:pt idx="47">
                  <c:v>43801</c:v>
                </c:pt>
                <c:pt idx="48">
                  <c:v>43808</c:v>
                </c:pt>
                <c:pt idx="49">
                  <c:v>43815</c:v>
                </c:pt>
                <c:pt idx="50">
                  <c:v>43822</c:v>
                </c:pt>
                <c:pt idx="51">
                  <c:v>43829</c:v>
                </c:pt>
                <c:pt idx="52">
                  <c:v>43836</c:v>
                </c:pt>
                <c:pt idx="53">
                  <c:v>43843</c:v>
                </c:pt>
                <c:pt idx="54">
                  <c:v>43850</c:v>
                </c:pt>
                <c:pt idx="55">
                  <c:v>43857</c:v>
                </c:pt>
                <c:pt idx="56">
                  <c:v>43864</c:v>
                </c:pt>
                <c:pt idx="57">
                  <c:v>43871</c:v>
                </c:pt>
                <c:pt idx="58">
                  <c:v>43878</c:v>
                </c:pt>
                <c:pt idx="59">
                  <c:v>43885</c:v>
                </c:pt>
                <c:pt idx="60">
                  <c:v>43892</c:v>
                </c:pt>
                <c:pt idx="61">
                  <c:v>43899</c:v>
                </c:pt>
                <c:pt idx="62">
                  <c:v>43906</c:v>
                </c:pt>
                <c:pt idx="63">
                  <c:v>43913</c:v>
                </c:pt>
                <c:pt idx="64">
                  <c:v>43920</c:v>
                </c:pt>
                <c:pt idx="65">
                  <c:v>43927</c:v>
                </c:pt>
                <c:pt idx="66">
                  <c:v>43934</c:v>
                </c:pt>
                <c:pt idx="67">
                  <c:v>43941</c:v>
                </c:pt>
                <c:pt idx="68">
                  <c:v>43948</c:v>
                </c:pt>
                <c:pt idx="69">
                  <c:v>43955</c:v>
                </c:pt>
                <c:pt idx="70">
                  <c:v>43962</c:v>
                </c:pt>
                <c:pt idx="71">
                  <c:v>43969</c:v>
                </c:pt>
                <c:pt idx="72">
                  <c:v>43976</c:v>
                </c:pt>
                <c:pt idx="73">
                  <c:v>43983</c:v>
                </c:pt>
                <c:pt idx="74">
                  <c:v>43990</c:v>
                </c:pt>
                <c:pt idx="75">
                  <c:v>43997</c:v>
                </c:pt>
                <c:pt idx="76">
                  <c:v>44004</c:v>
                </c:pt>
                <c:pt idx="77">
                  <c:v>44011</c:v>
                </c:pt>
                <c:pt idx="78">
                  <c:v>44018</c:v>
                </c:pt>
                <c:pt idx="79">
                  <c:v>44025</c:v>
                </c:pt>
                <c:pt idx="80">
                  <c:v>44032</c:v>
                </c:pt>
                <c:pt idx="81">
                  <c:v>44039</c:v>
                </c:pt>
                <c:pt idx="82">
                  <c:v>44046</c:v>
                </c:pt>
                <c:pt idx="83">
                  <c:v>44053</c:v>
                </c:pt>
                <c:pt idx="84">
                  <c:v>44060</c:v>
                </c:pt>
                <c:pt idx="85">
                  <c:v>44067</c:v>
                </c:pt>
                <c:pt idx="86">
                  <c:v>44074</c:v>
                </c:pt>
                <c:pt idx="87">
                  <c:v>44081</c:v>
                </c:pt>
                <c:pt idx="88">
                  <c:v>44088</c:v>
                </c:pt>
                <c:pt idx="89">
                  <c:v>44095</c:v>
                </c:pt>
                <c:pt idx="90">
                  <c:v>44102</c:v>
                </c:pt>
                <c:pt idx="91">
                  <c:v>44109</c:v>
                </c:pt>
                <c:pt idx="92">
                  <c:v>44116</c:v>
                </c:pt>
                <c:pt idx="93">
                  <c:v>44123</c:v>
                </c:pt>
                <c:pt idx="94">
                  <c:v>44130</c:v>
                </c:pt>
                <c:pt idx="95">
                  <c:v>44137</c:v>
                </c:pt>
                <c:pt idx="96">
                  <c:v>44144</c:v>
                </c:pt>
                <c:pt idx="97">
                  <c:v>44151</c:v>
                </c:pt>
                <c:pt idx="98">
                  <c:v>44158</c:v>
                </c:pt>
                <c:pt idx="99">
                  <c:v>44165</c:v>
                </c:pt>
                <c:pt idx="100">
                  <c:v>44172</c:v>
                </c:pt>
                <c:pt idx="101">
                  <c:v>44179</c:v>
                </c:pt>
                <c:pt idx="102">
                  <c:v>44186</c:v>
                </c:pt>
                <c:pt idx="103">
                  <c:v>44193</c:v>
                </c:pt>
                <c:pt idx="104">
                  <c:v>44200</c:v>
                </c:pt>
                <c:pt idx="105">
                  <c:v>44207</c:v>
                </c:pt>
                <c:pt idx="106">
                  <c:v>44214</c:v>
                </c:pt>
                <c:pt idx="107">
                  <c:v>44221</c:v>
                </c:pt>
                <c:pt idx="108">
                  <c:v>44228</c:v>
                </c:pt>
                <c:pt idx="109">
                  <c:v>44235</c:v>
                </c:pt>
                <c:pt idx="110">
                  <c:v>44242</c:v>
                </c:pt>
                <c:pt idx="111">
                  <c:v>44249</c:v>
                </c:pt>
                <c:pt idx="112">
                  <c:v>44256</c:v>
                </c:pt>
                <c:pt idx="113">
                  <c:v>44263</c:v>
                </c:pt>
                <c:pt idx="114">
                  <c:v>44270</c:v>
                </c:pt>
                <c:pt idx="115">
                  <c:v>44277</c:v>
                </c:pt>
                <c:pt idx="116">
                  <c:v>44284</c:v>
                </c:pt>
                <c:pt idx="117">
                  <c:v>44291</c:v>
                </c:pt>
                <c:pt idx="118">
                  <c:v>44298</c:v>
                </c:pt>
                <c:pt idx="119">
                  <c:v>44305</c:v>
                </c:pt>
                <c:pt idx="120">
                  <c:v>44312</c:v>
                </c:pt>
                <c:pt idx="121">
                  <c:v>44319</c:v>
                </c:pt>
                <c:pt idx="122">
                  <c:v>44326</c:v>
                </c:pt>
                <c:pt idx="123">
                  <c:v>44333</c:v>
                </c:pt>
                <c:pt idx="124">
                  <c:v>44340</c:v>
                </c:pt>
                <c:pt idx="125">
                  <c:v>44347</c:v>
                </c:pt>
                <c:pt idx="126">
                  <c:v>44354</c:v>
                </c:pt>
                <c:pt idx="127">
                  <c:v>44361</c:v>
                </c:pt>
                <c:pt idx="128">
                  <c:v>44368</c:v>
                </c:pt>
                <c:pt idx="129">
                  <c:v>44375</c:v>
                </c:pt>
                <c:pt idx="130">
                  <c:v>44382</c:v>
                </c:pt>
                <c:pt idx="131">
                  <c:v>44389</c:v>
                </c:pt>
                <c:pt idx="132">
                  <c:v>44396</c:v>
                </c:pt>
                <c:pt idx="133">
                  <c:v>44403</c:v>
                </c:pt>
                <c:pt idx="134">
                  <c:v>44410</c:v>
                </c:pt>
                <c:pt idx="135">
                  <c:v>44417</c:v>
                </c:pt>
                <c:pt idx="136">
                  <c:v>44424</c:v>
                </c:pt>
                <c:pt idx="137">
                  <c:v>44431</c:v>
                </c:pt>
                <c:pt idx="138">
                  <c:v>44438</c:v>
                </c:pt>
                <c:pt idx="139">
                  <c:v>44445</c:v>
                </c:pt>
                <c:pt idx="140">
                  <c:v>44452</c:v>
                </c:pt>
                <c:pt idx="141">
                  <c:v>44459</c:v>
                </c:pt>
                <c:pt idx="142">
                  <c:v>44466</c:v>
                </c:pt>
                <c:pt idx="143">
                  <c:v>44473</c:v>
                </c:pt>
                <c:pt idx="144">
                  <c:v>44480</c:v>
                </c:pt>
                <c:pt idx="145">
                  <c:v>44487</c:v>
                </c:pt>
                <c:pt idx="146">
                  <c:v>44494</c:v>
                </c:pt>
                <c:pt idx="147">
                  <c:v>44501</c:v>
                </c:pt>
                <c:pt idx="148">
                  <c:v>44508</c:v>
                </c:pt>
                <c:pt idx="149">
                  <c:v>44515</c:v>
                </c:pt>
                <c:pt idx="150">
                  <c:v>44522</c:v>
                </c:pt>
                <c:pt idx="151">
                  <c:v>44529</c:v>
                </c:pt>
                <c:pt idx="152">
                  <c:v>44536</c:v>
                </c:pt>
                <c:pt idx="153">
                  <c:v>44543</c:v>
                </c:pt>
                <c:pt idx="154">
                  <c:v>44550</c:v>
                </c:pt>
                <c:pt idx="155">
                  <c:v>44557</c:v>
                </c:pt>
              </c:numCache>
            </c:numRef>
          </c:cat>
          <c:val>
            <c:numRef>
              <c:f>Sheet1!$C$2:$C$158</c:f>
              <c:numCache>
                <c:formatCode>#,##0</c:formatCode>
                <c:ptCount val="156"/>
                <c:pt idx="0">
                  <c:v>2625.1844867</c:v>
                </c:pt>
                <c:pt idx="1">
                  <c:v>3404.9057114000002</c:v>
                </c:pt>
                <c:pt idx="2">
                  <c:v>3146.4640559999998</c:v>
                </c:pt>
                <c:pt idx="3">
                  <c:v>3408.3729616000001</c:v>
                </c:pt>
                <c:pt idx="4">
                  <c:v>3154.8826892000002</c:v>
                </c:pt>
                <c:pt idx="5">
                  <c:v>3756.5916321999998</c:v>
                </c:pt>
                <c:pt idx="6">
                  <c:v>3283.2766194000001</c:v>
                </c:pt>
                <c:pt idx="7">
                  <c:v>3182.9908372</c:v>
                </c:pt>
                <c:pt idx="8">
                  <c:v>3333.6338013999998</c:v>
                </c:pt>
                <c:pt idx="9">
                  <c:v>3501.0602398999999</c:v>
                </c:pt>
                <c:pt idx="10">
                  <c:v>3900.5784577999998</c:v>
                </c:pt>
                <c:pt idx="11">
                  <c:v>3723.1561416</c:v>
                </c:pt>
                <c:pt idx="12">
                  <c:v>3261.4612643999999</c:v>
                </c:pt>
                <c:pt idx="13">
                  <c:v>2932.9705322999998</c:v>
                </c:pt>
                <c:pt idx="14">
                  <c:v>3020.4185201</c:v>
                </c:pt>
                <c:pt idx="15">
                  <c:v>3259.5078094999999</c:v>
                </c:pt>
                <c:pt idx="16">
                  <c:v>3580.0999655999999</c:v>
                </c:pt>
                <c:pt idx="17">
                  <c:v>4170.2629092999996</c:v>
                </c:pt>
                <c:pt idx="18">
                  <c:v>3186.9720437999999</c:v>
                </c:pt>
                <c:pt idx="19">
                  <c:v>2700.4345881999998</c:v>
                </c:pt>
                <c:pt idx="20">
                  <c:v>2844.6935696999999</c:v>
                </c:pt>
                <c:pt idx="21">
                  <c:v>2656.1132176000001</c:v>
                </c:pt>
                <c:pt idx="22">
                  <c:v>2728.7825910000001</c:v>
                </c:pt>
                <c:pt idx="23">
                  <c:v>2469.3763141999998</c:v>
                </c:pt>
                <c:pt idx="24">
                  <c:v>2576.0346324000002</c:v>
                </c:pt>
                <c:pt idx="25">
                  <c:v>2563.8563079999999</c:v>
                </c:pt>
                <c:pt idx="26">
                  <c:v>2555.8846818000002</c:v>
                </c:pt>
                <c:pt idx="27">
                  <c:v>2918.8956542000001</c:v>
                </c:pt>
                <c:pt idx="28">
                  <c:v>2509.3225269</c:v>
                </c:pt>
                <c:pt idx="29">
                  <c:v>1872.0618901</c:v>
                </c:pt>
                <c:pt idx="30">
                  <c:v>1875.7920380999999</c:v>
                </c:pt>
                <c:pt idx="31">
                  <c:v>2159.6829837</c:v>
                </c:pt>
                <c:pt idx="32">
                  <c:v>1914.6406790999999</c:v>
                </c:pt>
                <c:pt idx="33">
                  <c:v>1957.0004879000001</c:v>
                </c:pt>
                <c:pt idx="34">
                  <c:v>2326.5796653000002</c:v>
                </c:pt>
                <c:pt idx="35">
                  <c:v>2197.8889158000002</c:v>
                </c:pt>
                <c:pt idx="36">
                  <c:v>2860.4298807</c:v>
                </c:pt>
                <c:pt idx="37">
                  <c:v>3187.8285544</c:v>
                </c:pt>
                <c:pt idx="38">
                  <c:v>2448.3446327000001</c:v>
                </c:pt>
                <c:pt idx="39">
                  <c:v>2353.7352575999998</c:v>
                </c:pt>
                <c:pt idx="40">
                  <c:v>2637.571046</c:v>
                </c:pt>
                <c:pt idx="41">
                  <c:v>2715.1284687000002</c:v>
                </c:pt>
                <c:pt idx="42">
                  <c:v>2581.0582813000001</c:v>
                </c:pt>
                <c:pt idx="43">
                  <c:v>3328.5892564000001</c:v>
                </c:pt>
                <c:pt idx="44">
                  <c:v>2888.2368400999999</c:v>
                </c:pt>
                <c:pt idx="45">
                  <c:v>3329.6402407</c:v>
                </c:pt>
                <c:pt idx="46">
                  <c:v>3578.2474837999998</c:v>
                </c:pt>
                <c:pt idx="47">
                  <c:v>4595.6510552999998</c:v>
                </c:pt>
                <c:pt idx="48">
                  <c:v>5030.7753193999997</c:v>
                </c:pt>
                <c:pt idx="49">
                  <c:v>5336.9583677999999</c:v>
                </c:pt>
                <c:pt idx="50">
                  <c:v>5699.8151582999999</c:v>
                </c:pt>
                <c:pt idx="51">
                  <c:v>9136.6996435000001</c:v>
                </c:pt>
                <c:pt idx="52">
                  <c:v>3603.4017131999999</c:v>
                </c:pt>
                <c:pt idx="53">
                  <c:v>4144.3680329999997</c:v>
                </c:pt>
                <c:pt idx="54">
                  <c:v>4201.3925714999996</c:v>
                </c:pt>
                <c:pt idx="55">
                  <c:v>3327.8189108000001</c:v>
                </c:pt>
                <c:pt idx="56">
                  <c:v>3110.0369378999999</c:v>
                </c:pt>
                <c:pt idx="57">
                  <c:v>3201.8436111999999</c:v>
                </c:pt>
                <c:pt idx="58">
                  <c:v>2834.1814844</c:v>
                </c:pt>
                <c:pt idx="59">
                  <c:v>2895.9283156000001</c:v>
                </c:pt>
                <c:pt idx="60">
                  <c:v>2937.1318279000002</c:v>
                </c:pt>
                <c:pt idx="61">
                  <c:v>2861.7300759</c:v>
                </c:pt>
                <c:pt idx="62">
                  <c:v>3856.4558668</c:v>
                </c:pt>
                <c:pt idx="63">
                  <c:v>3819.7020404</c:v>
                </c:pt>
                <c:pt idx="64">
                  <c:v>3348.8657865999999</c:v>
                </c:pt>
                <c:pt idx="65">
                  <c:v>3002.8191599000002</c:v>
                </c:pt>
                <c:pt idx="66">
                  <c:v>3114.9494278000002</c:v>
                </c:pt>
                <c:pt idx="67">
                  <c:v>3150.3455337999999</c:v>
                </c:pt>
                <c:pt idx="68">
                  <c:v>3565.1436217999999</c:v>
                </c:pt>
                <c:pt idx="69">
                  <c:v>5046.4077828999998</c:v>
                </c:pt>
                <c:pt idx="70">
                  <c:v>2655.7529599</c:v>
                </c:pt>
                <c:pt idx="71">
                  <c:v>2325.3607686999999</c:v>
                </c:pt>
                <c:pt idx="72">
                  <c:v>2453.0218175999998</c:v>
                </c:pt>
                <c:pt idx="73">
                  <c:v>2525.1708020999999</c:v>
                </c:pt>
                <c:pt idx="74">
                  <c:v>2613.7394780999998</c:v>
                </c:pt>
                <c:pt idx="75">
                  <c:v>2491.9200885999999</c:v>
                </c:pt>
                <c:pt idx="76">
                  <c:v>2191.2662211000002</c:v>
                </c:pt>
                <c:pt idx="77">
                  <c:v>2088.0401531000002</c:v>
                </c:pt>
                <c:pt idx="78">
                  <c:v>2061.7199002000002</c:v>
                </c:pt>
                <c:pt idx="79">
                  <c:v>1884.3914423000001</c:v>
                </c:pt>
                <c:pt idx="80">
                  <c:v>1934.1620195</c:v>
                </c:pt>
                <c:pt idx="81">
                  <c:v>1938.6067430000001</c:v>
                </c:pt>
                <c:pt idx="82">
                  <c:v>1515.6773625999999</c:v>
                </c:pt>
                <c:pt idx="83">
                  <c:v>1741.5038293</c:v>
                </c:pt>
                <c:pt idx="84">
                  <c:v>1567.3054344</c:v>
                </c:pt>
                <c:pt idx="85">
                  <c:v>1442.7441311</c:v>
                </c:pt>
                <c:pt idx="86">
                  <c:v>1922.8016169</c:v>
                </c:pt>
                <c:pt idx="87">
                  <c:v>1689.2731345</c:v>
                </c:pt>
                <c:pt idx="88">
                  <c:v>1998.8667857</c:v>
                </c:pt>
                <c:pt idx="89">
                  <c:v>2132.6365234</c:v>
                </c:pt>
                <c:pt idx="90">
                  <c:v>1978.6128971999999</c:v>
                </c:pt>
                <c:pt idx="91">
                  <c:v>1857.5693017000001</c:v>
                </c:pt>
                <c:pt idx="92">
                  <c:v>2153.5691883999998</c:v>
                </c:pt>
                <c:pt idx="93">
                  <c:v>2285.4914837000001</c:v>
                </c:pt>
                <c:pt idx="94">
                  <c:v>2158.4803124999999</c:v>
                </c:pt>
                <c:pt idx="95">
                  <c:v>2453.6207894999998</c:v>
                </c:pt>
                <c:pt idx="96">
                  <c:v>2406.9923137000001</c:v>
                </c:pt>
                <c:pt idx="97">
                  <c:v>2502.8884259000001</c:v>
                </c:pt>
                <c:pt idx="98">
                  <c:v>3183.3726237000001</c:v>
                </c:pt>
                <c:pt idx="99">
                  <c:v>3111.6253363999999</c:v>
                </c:pt>
                <c:pt idx="100">
                  <c:v>3930.5135860999999</c:v>
                </c:pt>
                <c:pt idx="101">
                  <c:v>4182.5973783999998</c:v>
                </c:pt>
                <c:pt idx="102">
                  <c:v>5466.6979105</c:v>
                </c:pt>
                <c:pt idx="103">
                  <c:v>4146.3653680999996</c:v>
                </c:pt>
                <c:pt idx="104">
                  <c:v>3377.5025872000001</c:v>
                </c:pt>
                <c:pt idx="105">
                  <c:v>3663.0581269999998</c:v>
                </c:pt>
                <c:pt idx="106">
                  <c:v>2861.8934389000001</c:v>
                </c:pt>
                <c:pt idx="107">
                  <c:v>2738.7687853000002</c:v>
                </c:pt>
                <c:pt idx="108">
                  <c:v>2657.4813577999998</c:v>
                </c:pt>
                <c:pt idx="109">
                  <c:v>2972.6939699</c:v>
                </c:pt>
                <c:pt idx="110">
                  <c:v>2722.3696789000001</c:v>
                </c:pt>
                <c:pt idx="111">
                  <c:v>3002.4538014</c:v>
                </c:pt>
                <c:pt idx="112">
                  <c:v>3226.4994989000002</c:v>
                </c:pt>
                <c:pt idx="113">
                  <c:v>2750.0421305999998</c:v>
                </c:pt>
                <c:pt idx="114">
                  <c:v>2736.1122197999998</c:v>
                </c:pt>
                <c:pt idx="115">
                  <c:v>2678.5145391999999</c:v>
                </c:pt>
                <c:pt idx="116">
                  <c:v>2250.1951264999998</c:v>
                </c:pt>
                <c:pt idx="117">
                  <c:v>1922.3368043999999</c:v>
                </c:pt>
                <c:pt idx="118">
                  <c:v>2009.6862057999999</c:v>
                </c:pt>
                <c:pt idx="119">
                  <c:v>1928.3838040999999</c:v>
                </c:pt>
                <c:pt idx="120">
                  <c:v>2450.0899183000001</c:v>
                </c:pt>
                <c:pt idx="121">
                  <c:v>2811.3461775999999</c:v>
                </c:pt>
                <c:pt idx="122">
                  <c:v>1544.0994244000001</c:v>
                </c:pt>
                <c:pt idx="123">
                  <c:v>1520.9392866000001</c:v>
                </c:pt>
                <c:pt idx="124">
                  <c:v>1815.2827554999999</c:v>
                </c:pt>
                <c:pt idx="125">
                  <c:v>1629.1610344999999</c:v>
                </c:pt>
                <c:pt idx="126">
                  <c:v>2000.3960985000001</c:v>
                </c:pt>
                <c:pt idx="127">
                  <c:v>1799.7228395</c:v>
                </c:pt>
                <c:pt idx="128">
                  <c:v>1739.8500426999999</c:v>
                </c:pt>
                <c:pt idx="129">
                  <c:v>1676.7516880999999</c:v>
                </c:pt>
                <c:pt idx="130">
                  <c:v>1709.7870448000001</c:v>
                </c:pt>
                <c:pt idx="131">
                  <c:v>1373.4829678999999</c:v>
                </c:pt>
                <c:pt idx="132">
                  <c:v>1680.3142459000001</c:v>
                </c:pt>
                <c:pt idx="133">
                  <c:v>1139.8554588</c:v>
                </c:pt>
                <c:pt idx="134">
                  <c:v>1497.070997</c:v>
                </c:pt>
                <c:pt idx="135">
                  <c:v>1595.0443802</c:v>
                </c:pt>
                <c:pt idx="136">
                  <c:v>1388.3276125</c:v>
                </c:pt>
                <c:pt idx="137">
                  <c:v>1399.1186734</c:v>
                </c:pt>
                <c:pt idx="138">
                  <c:v>1734.8143331000001</c:v>
                </c:pt>
                <c:pt idx="139">
                  <c:v>1651.5089052999999</c:v>
                </c:pt>
                <c:pt idx="140">
                  <c:v>1777.9165783000001</c:v>
                </c:pt>
                <c:pt idx="141">
                  <c:v>2012.9212029</c:v>
                </c:pt>
                <c:pt idx="142">
                  <c:v>1769.6359957</c:v>
                </c:pt>
                <c:pt idx="143">
                  <c:v>1772.2938122</c:v>
                </c:pt>
                <c:pt idx="144">
                  <c:v>1959.7422944</c:v>
                </c:pt>
                <c:pt idx="145">
                  <c:v>2166.9082263999999</c:v>
                </c:pt>
                <c:pt idx="146">
                  <c:v>1957.8316626000001</c:v>
                </c:pt>
                <c:pt idx="147">
                  <c:v>2509.0684098000002</c:v>
                </c:pt>
                <c:pt idx="148">
                  <c:v>2346.8404337000002</c:v>
                </c:pt>
                <c:pt idx="149">
                  <c:v>2285.9750392000001</c:v>
                </c:pt>
                <c:pt idx="150">
                  <c:v>2710.1827766000001</c:v>
                </c:pt>
                <c:pt idx="151">
                  <c:v>3261.4417432</c:v>
                </c:pt>
                <c:pt idx="152">
                  <c:v>3751.8780726999998</c:v>
                </c:pt>
                <c:pt idx="153">
                  <c:v>2429.9194548999999</c:v>
                </c:pt>
                <c:pt idx="154">
                  <c:v>4502.0161549000004</c:v>
                </c:pt>
                <c:pt idx="155">
                  <c:v>4094.27742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28-4D3A-9BA1-6E0FCC92F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catAx>
        <c:axId val="-95519940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At val="0"/>
        <c:auto val="0"/>
        <c:lblAlgn val="ctr"/>
        <c:lblOffset val="100"/>
        <c:tickLblSkip val="4"/>
        <c:tickMarkSkip val="4"/>
        <c:noMultiLvlLbl val="0"/>
      </c:catAx>
      <c:valAx>
        <c:axId val="-955192880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3.1347529986995512E-2</c:v>
                </c:pt>
                <c:pt idx="1">
                  <c:v>8.133114063333613E-2</c:v>
                </c:pt>
                <c:pt idx="2">
                  <c:v>8.90958661254274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0" formatCode="0.0%">
                  <c:v>5.7889937341235888E-4</c:v>
                </c:pt>
                <c:pt idx="2" formatCode="0.0%">
                  <c:v>2.282049340314227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Static</c:v>
                  </c:pt>
                  <c:pt idx="2">
                    <c:v>Video</c:v>
                  </c:pt>
                  <c:pt idx="3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899E-2"/>
                  <c:y val="1.3071892733900839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6.4017660044150035E-2"/>
                  <c:y val="2.614378546780189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3.0429248105497226E-3</c:v>
                </c:pt>
                <c:pt idx="1">
                  <c:v>2.384408636701574E-3</c:v>
                </c:pt>
                <c:pt idx="2">
                  <c:v>6.0931186814080997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GAW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-2.35294069210217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6.2913907284768131E-2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0">
                  <c:v>1.5694924627882162E-3</c:v>
                </c:pt>
                <c:pt idx="1">
                  <c:v>1.8849205653842472E-3</c:v>
                </c:pt>
                <c:pt idx="2">
                  <c:v>5.509096793961500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AFF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6.4017660044150104E-2"/>
                  <c:y val="-6.013070657594427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1.0895170212471121E-2</c:v>
                </c:pt>
                <c:pt idx="1">
                  <c:v>3.2336938446686234E-3</c:v>
                </c:pt>
                <c:pt idx="2">
                  <c:v>1.57397153833615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0.0%">
                  <c:v>1.146855008973463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432618935878048"/>
          <c:y val="0.92251784827999628"/>
          <c:w val="0.33744033651422706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</c:formatCode>
                <c:ptCount val="3"/>
                <c:pt idx="0">
                  <c:v>5354.6298201</c:v>
                </c:pt>
                <c:pt idx="1">
                  <c:v>12225.312656499998</c:v>
                </c:pt>
                <c:pt idx="2">
                  <c:v>10320.1803945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0" formatCode="#,##0">
                  <c:v>98.884723900000012</c:v>
                </c:pt>
                <c:pt idx="2" formatCode="#,##0">
                  <c:v>2643.35057119999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Static</c:v>
                  </c:pt>
                  <c:pt idx="2">
                    <c:v>Video</c:v>
                  </c:pt>
                  <c:pt idx="3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2.6143785467802826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263800279657028"/>
                  <c:y val="3.660129965492262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5.751632802916411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</c:formatCode>
                <c:ptCount val="3"/>
                <c:pt idx="0">
                  <c:v>519.77734570000018</c:v>
                </c:pt>
                <c:pt idx="1">
                  <c:v>358.41303660000011</c:v>
                </c:pt>
                <c:pt idx="2">
                  <c:v>70.578004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GAW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3.13725425613622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0.11489187026454895"/>
                  <c:y val="-4.7929719669425136E-17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124990438810249"/>
                  <c:y val="1.3071892733900959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</c:formatCode>
                <c:ptCount val="3"/>
                <c:pt idx="0">
                  <c:v>268.09292940000006</c:v>
                </c:pt>
                <c:pt idx="1">
                  <c:v>283.33235049999985</c:v>
                </c:pt>
                <c:pt idx="2">
                  <c:v>63.8131432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AFF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-2.875816401458205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</c:formatCode>
                <c:ptCount val="3"/>
                <c:pt idx="0">
                  <c:v>1861.0590161000005</c:v>
                </c:pt>
                <c:pt idx="1">
                  <c:v>486.07357500000006</c:v>
                </c:pt>
                <c:pt idx="2">
                  <c:v>182.3167663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#,##0">
                  <c:v>132.8428701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DV360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.10818563846297596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630F67CE-D2E6-486E-9D07-5021BE3B36D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</c:formatCode>
                <c:ptCount val="3"/>
                <c:pt idx="0">
                  <c:v>1591.4270443999997</c:v>
                </c:pt>
                <c:pt idx="1">
                  <c:v>50.9977317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</c:formatCode>
                <c:ptCount val="3"/>
                <c:pt idx="0">
                  <c:v>739.05528010000012</c:v>
                </c:pt>
                <c:pt idx="1">
                  <c:v>6764.145583399998</c:v>
                </c:pt>
                <c:pt idx="2">
                  <c:v>5365.463885399998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DV360 </c:v>
                  </c:pt>
                  <c:pt idx="2">
                    <c:v>FB </c:v>
                  </c:pt>
                  <c:pt idx="3">
                    <c:v>G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GDN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590557821550133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489187026454903"/>
                  <c:y val="1.0457514187120747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316336688046463"/>
                  <c:y val="0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</c:formatCode>
                <c:ptCount val="3"/>
                <c:pt idx="0">
                  <c:v>1429.4668983000001</c:v>
                </c:pt>
                <c:pt idx="1">
                  <c:v>979.4743757</c:v>
                </c:pt>
                <c:pt idx="2">
                  <c:v>674.3288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LINE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928045014879963"/>
                  <c:y val="-3.13725425613622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-4.5631055383203549E-3"/>
                  <c:y val="0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-2.4481969858870627E-3"/>
                  <c:y val="5.2287570935603735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</c:formatCode>
                <c:ptCount val="3"/>
                <c:pt idx="1">
                  <c:v>2341.4980611000005</c:v>
                </c:pt>
                <c:pt idx="2">
                  <c:v>1791.3997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Others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818563846297596"/>
                  <c:y val="1.8300649827461213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1.3071892733900886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</c:formatCode>
                <c:ptCount val="3"/>
                <c:pt idx="0">
                  <c:v>269.81557799999996</c:v>
                </c:pt>
                <c:pt idx="1">
                  <c:v>82.5400949</c:v>
                </c:pt>
                <c:pt idx="2">
                  <c:v>431.7002959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smartnews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</c:formatCode>
                <c:ptCount val="3"/>
                <c:pt idx="1">
                  <c:v>1737.4828121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0" formatCode="#,##0">
                  <c:v>15.619398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6-4D23-87B8-0061AD8FC47F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2538674679786659E-3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32F97E15-B2E8-45C5-B826-C3AA1B221435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0" formatCode="#,##0">
                  <c:v>1285.9319757000001</c:v>
                </c:pt>
                <c:pt idx="2" formatCode="#,##0">
                  <c:v>1317.6902018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F6-4D23-87B8-0061AD8FC47F}"/>
            </c:ext>
          </c:extLst>
        </c:ser>
        <c:ser>
          <c:idx val="8"/>
          <c:order val="8"/>
          <c:tx>
            <c:strRef>
              <c:f>Sheet1!$J$3</c:f>
              <c:strCache>
                <c:ptCount val="1"/>
                <c:pt idx="0">
                  <c:v>YahooSPBP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5077349359573526E-3"/>
                  <c:y val="-5.2287570935603739E-2"/>
                </c:manualLayout>
              </c:layout>
              <c:tx>
                <c:rich>
                  <a:bodyPr/>
                  <a:lstStyle/>
                  <a:p>
                    <a:fld id="{AD25D935-B8F0-4E4A-997C-3E3432CB0778}" type="VALUE">
                      <a:rPr lang="en-US">
                        <a:solidFill>
                          <a:srgbClr val="3B6529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J$4:$J$6</c:f>
              <c:numCache>
                <c:formatCode>General</c:formatCode>
                <c:ptCount val="3"/>
                <c:pt idx="0" formatCode="#,##0">
                  <c:v>23.3059757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F6-4D23-87B8-0061AD8FC47F}"/>
            </c:ext>
          </c:extLst>
        </c:ser>
        <c:ser>
          <c:idx val="9"/>
          <c:order val="9"/>
          <c:tx>
            <c:strRef>
              <c:f>Sheet1!$K$3</c:f>
              <c:strCache>
                <c:ptCount val="1"/>
                <c:pt idx="0">
                  <c:v>YDN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4.5077349359573318E-3"/>
                  <c:y val="-2.6143785467801869E-2"/>
                </c:manualLayout>
              </c:layout>
              <c:tx>
                <c:rich>
                  <a:bodyPr/>
                  <a:lstStyle/>
                  <a:p>
                    <a:fld id="{0800E684-690C-4E6E-921F-A2BA93CFC89B}" type="VALUE">
                      <a:rPr lang="en-US">
                        <a:solidFill>
                          <a:srgbClr val="0B525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4F6-4D23-87B8-0061AD8FC47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K$4:$K$6</c:f>
              <c:numCache>
                <c:formatCode>#,##0</c:formatCode>
                <c:ptCount val="3"/>
                <c:pt idx="1">
                  <c:v>269.17399750000004</c:v>
                </c:pt>
                <c:pt idx="2">
                  <c:v>738.9875218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6-4D23-87B8-0061AD8FC4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289913264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DV360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7.3951434878587199E-2"/>
                  <c:y val="-2.8758164014582248E-2"/>
                </c:manualLayout>
              </c:layout>
              <c:tx>
                <c:rich>
                  <a:bodyPr/>
                  <a:lstStyle/>
                  <a:p>
                    <a:fld id="{218A2CAA-4339-488E-8420-E4BC4FEFA16A}" type="VALUE">
                      <a:rPr lang="en-US" dirty="0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0%</c:formatCode>
                <c:ptCount val="3"/>
                <c:pt idx="0" formatCode="0.0%">
                  <c:v>9.3166677571584131E-3</c:v>
                </c:pt>
                <c:pt idx="1">
                  <c:v>3.392717890778597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%</c:formatCode>
                <c:ptCount val="3"/>
                <c:pt idx="0">
                  <c:v>4.3266403716680189E-3</c:v>
                </c:pt>
                <c:pt idx="1">
                  <c:v>4.4999722392814759E-2</c:v>
                </c:pt>
                <c:pt idx="2">
                  <c:v>4.6320958913135625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DV360 </c:v>
                  </c:pt>
                  <c:pt idx="2">
                    <c:v>FB </c:v>
                  </c:pt>
                  <c:pt idx="3">
                    <c:v>G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GDN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12582781456854E-3"/>
                  <c:y val="2.6143785467800909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6.4017660044150035E-2"/>
                  <c:y val="2.614378546780189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8.3685068744938675E-3</c:v>
                </c:pt>
                <c:pt idx="1">
                  <c:v>6.5161334057539169E-3</c:v>
                </c:pt>
                <c:pt idx="2">
                  <c:v>5.82159508275940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LINE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-2.35294069210217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0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-3.3112582781456954E-3"/>
                  <c:y val="-1.0457514187120747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1">
                  <c:v>1.557724644357099E-2</c:v>
                </c:pt>
                <c:pt idx="2">
                  <c:v>1.54654577859916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Others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2847682119205281E-2"/>
                  <c:y val="-7.8431356403405608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6.4017660044150104E-2"/>
                  <c:y val="-6.013070657594427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1.5795773389532962E-3</c:v>
                </c:pt>
                <c:pt idx="1">
                  <c:v>5.4911316011468838E-4</c:v>
                </c:pt>
                <c:pt idx="2">
                  <c:v>3.72694180713539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smartnews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075055187637969E-3"/>
                  <c:y val="-5.4901949482383923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1">
                  <c:v>1.15589239236165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0" formatCode="0.00%">
                  <c:v>9.144041487683973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DD-46BD-89A6-06EC0ADF9D29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Twitter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E423200-86D2-41F9-AAEE-AF02DC6863B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27DD-46BD-89A6-06EC0ADF9D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718BFC6-DAFB-461C-A62B-31EFEF346A5D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0" formatCode="0.0%">
                  <c:v>7.5282125046581298E-3</c:v>
                </c:pt>
                <c:pt idx="2" formatCode="0.0%">
                  <c:v>1.137584279870722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DD-46BD-89A6-06EC0ADF9D29}"/>
            </c:ext>
          </c:extLst>
        </c:ser>
        <c:ser>
          <c:idx val="8"/>
          <c:order val="8"/>
          <c:tx>
            <c:strRef>
              <c:f>Sheet1!$J$3</c:f>
              <c:strCache>
                <c:ptCount val="1"/>
                <c:pt idx="0">
                  <c:v>YahooSPBP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8758164014582154E-2"/>
                </c:manualLayout>
              </c:layout>
              <c:tx>
                <c:rich>
                  <a:bodyPr/>
                  <a:lstStyle/>
                  <a:p>
                    <a:fld id="{76611CA4-A0B7-42EB-B51C-FBE2CE61070D}" type="VALUE">
                      <a:rPr lang="en-US">
                        <a:solidFill>
                          <a:srgbClr val="3B6529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J$4:$J$6</c:f>
              <c:numCache>
                <c:formatCode>General</c:formatCode>
                <c:ptCount val="3"/>
                <c:pt idx="0" formatCode="0.00%">
                  <c:v>1.3643982808848862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DD-46BD-89A6-06EC0ADF9D29}"/>
            </c:ext>
          </c:extLst>
        </c:ser>
        <c:ser>
          <c:idx val="9"/>
          <c:order val="9"/>
          <c:tx>
            <c:strRef>
              <c:f>Sheet1!$K$3</c:f>
              <c:strCache>
                <c:ptCount val="1"/>
                <c:pt idx="0">
                  <c:v>YDN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3.660129965492262E-2"/>
                </c:manualLayout>
              </c:layout>
              <c:tx>
                <c:rich>
                  <a:bodyPr/>
                  <a:lstStyle/>
                  <a:p>
                    <a:fld id="{8A21D515-3AD2-431D-A450-5794FDD57181}" type="VALUE">
                      <a:rPr lang="en-US">
                        <a:solidFill>
                          <a:srgbClr val="0B525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27DD-46BD-89A6-06EC0ADF9D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B038E9C-ACA1-4010-BCAF-AA98FD8BD63A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K$4:$K$6</c:f>
              <c:numCache>
                <c:formatCode>0.0%</c:formatCode>
                <c:ptCount val="3"/>
                <c:pt idx="1">
                  <c:v>1.7907295183874116E-3</c:v>
                </c:pt>
                <c:pt idx="2">
                  <c:v>6.379804499736726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DD-46BD-89A6-06EC0ADF9D2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019815403869217"/>
          <c:y val="0.92513222682677643"/>
          <c:w val="0.75512697502216197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289913264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2847682119205295E-2"/>
                  <c:y val="-2.6143785467801869E-2"/>
                </c:manualLayout>
              </c:layout>
              <c:tx>
                <c:rich>
                  <a:bodyPr/>
                  <a:lstStyle/>
                  <a:p>
                    <a:fld id="{925A3FA3-D36C-4D5A-A029-C077B6F1B5CD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038-4AFA-ADBC-B2C9C7516BA1}"/>
                </c:ext>
              </c:extLst>
            </c:dLbl>
            <c:dLbl>
              <c:idx val="1"/>
              <c:layout>
                <c:manualLayout>
                  <c:x val="7.3951434878587199E-2"/>
                  <c:y val="-2.8758164014582248E-2"/>
                </c:manualLayout>
              </c:layout>
              <c:tx>
                <c:rich>
                  <a:bodyPr/>
                  <a:lstStyle/>
                  <a:p>
                    <a:fld id="{218A2CAA-4339-488E-8420-E4BC4FEFA16A}" type="VALUE">
                      <a:rPr lang="en-US" dirty="0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27DD-46BD-89A6-06EC0ADF9D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General</c:formatCode>
                <c:ptCount val="3"/>
                <c:pt idx="0" formatCode="0.00%">
                  <c:v>2.0891438749993067E-4</c:v>
                </c:pt>
                <c:pt idx="2" formatCode="0.0%">
                  <c:v>5.778328315473375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remiumView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5.2287570935603739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layout>
                <c:manualLayout>
                  <c:x val="6.0706401766004413E-2"/>
                  <c:y val="3.9215678201702804E-2"/>
                </c:manualLayout>
              </c:layout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2" formatCode="0.00%">
                  <c:v>4.3081463987252488E-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FB </c:v>
                  </c:pt>
                  <c:pt idx="2">
                    <c:v>PremiumView </c:v>
                  </c:pt>
                  <c:pt idx="3">
                    <c:v>Teads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12582781456854E-3"/>
                  <c:y val="2.6143785467800909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5.6291390728476824E-2"/>
                  <c:y val="7.8431356403404658E-3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General</c:formatCode>
                <c:ptCount val="3"/>
                <c:pt idx="2" formatCode="0.0%">
                  <c:v>1.340230866801655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Trueview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3245033112582781E-2"/>
                  <c:y val="-4.967319238882355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0"/>
                  <c:y val="-2.6143785467802349E-3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-1.1037527593818985E-3"/>
                  <c:y val="-1.045751418712074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General</c:formatCode>
                <c:ptCount val="3"/>
                <c:pt idx="0" formatCode="0.00%">
                  <c:v>3.6998498591242815E-4</c:v>
                </c:pt>
                <c:pt idx="2" formatCode="0.0%">
                  <c:v>3.54938863925628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Tver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2847682119205281E-2"/>
                  <c:y val="-7.8431356403405608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2.2075055187637158E-3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General</c:formatCode>
                <c:ptCount val="3"/>
                <c:pt idx="2" formatCode="0.0%">
                  <c:v>1.101615489776287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5.7395143487858721E-2"/>
                  <c:y val="-5.2287570935603735E-3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0.0%">
                  <c:v>5.2491628445798153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DV360  </c:v>
                </c:pt>
              </c:strCache>
            </c:strRef>
          </c:tx>
          <c:spPr>
            <a:solidFill>
              <a:srgbClr val="76923C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C0F-4B8B-9DF1-CD8A2D9D3F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2" formatCode="0.0%">
                  <c:v>7.9905792541246526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0F-4B8B-9DF1-CD8A2D9D3F94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LINE  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0F-4B8B-9DF1-CD8A2D9D3F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2" formatCode="0.0%">
                  <c:v>1.007539669763277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0F-4B8B-9DF1-CD8A2D9D3F9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019815403869217"/>
          <c:y val="0.92513222682677643"/>
          <c:w val="0.62508212963445797"/>
          <c:h val="5.9181501892542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FB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4724086691196"/>
                  <c:y val="-1.5686271280681216E-2"/>
                </c:manualLayout>
              </c:layout>
              <c:tx>
                <c:rich>
                  <a:bodyPr/>
                  <a:lstStyle/>
                  <a:p>
                    <a:fld id="{AB5343E1-2A94-48EA-87A9-80F49F5D0CA0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2C-44B0-B09A-D586B16FD979}"/>
                </c:ext>
              </c:extLst>
            </c:dLbl>
            <c:dLbl>
              <c:idx val="1"/>
              <c:layout>
                <c:manualLayout>
                  <c:x val="0.10818563846297596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630F67CE-D2E6-486E-9D07-5021BE3B36D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4F6-4D23-87B8-0061AD8F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General</c:formatCode>
                <c:ptCount val="3"/>
                <c:pt idx="0" formatCode="#,##0">
                  <c:v>35.685721000000001</c:v>
                </c:pt>
                <c:pt idx="2" formatCode="#,##0">
                  <c:v>669.3171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remiumView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493836737294355"/>
                  <c:y val="3.1372542561362148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layout>
                <c:manualLayout>
                  <c:x val="0.13523204807871997"/>
                  <c:y val="1.5686271280681025E-2"/>
                </c:manualLayout>
              </c:layout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rgbClr val="2B3188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General</c:formatCode>
                <c:ptCount val="3"/>
                <c:pt idx="2" formatCode="#,##0">
                  <c:v>49.90225689999999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FB </c:v>
                  </c:pt>
                  <c:pt idx="2">
                    <c:v>PremiumView </c:v>
                  </c:pt>
                  <c:pt idx="3">
                    <c:v>Teads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Teads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590557821550133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489187026454903"/>
                  <c:y val="1.0457514187120747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316336688046463"/>
                  <c:y val="0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General</c:formatCode>
                <c:ptCount val="3"/>
                <c:pt idx="2" formatCode="#,##0">
                  <c:v>155.2420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Trueview 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251884774486358"/>
                  <c:y val="-7.32025993098452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-4.5631055383203549E-3"/>
                  <c:y val="0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2.0595379500702692E-3"/>
                  <c:y val="5.228757093560278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F43DE6-7A21-4883-BFDC-5611DD27A88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General</c:formatCode>
                <c:ptCount val="3"/>
                <c:pt idx="0" formatCode="#,##0">
                  <c:v>63.199002900000004</c:v>
                </c:pt>
                <c:pt idx="2" formatCode="#,##0">
                  <c:v>411.1339014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Tver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818563846297596"/>
                  <c:y val="1.8300649827461213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-8.1061142100309885E-3"/>
                  <c:y val="7.8431356403405612E-3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General</c:formatCode>
                <c:ptCount val="3"/>
                <c:pt idx="2" formatCode="#,##0">
                  <c:v>1276.0267197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TW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.11273969303744845"/>
                  <c:y val="-1.0457514187120737E-2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rgbClr val="7F7F7F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General</c:formatCode>
                <c:ptCount val="3"/>
                <c:pt idx="2" formatCode="#,##0">
                  <c:v>60.8022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DV360  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.11269337339893314"/>
                  <c:y val="-4.967319238882356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76923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57-420C-8A2D-45FE573F5B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General</c:formatCode>
                <c:ptCount val="3"/>
                <c:pt idx="2" formatCode="0">
                  <c:v>9.2556729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57-420C-8A2D-45FE573F5B2C}"/>
            </c:ext>
          </c:extLst>
        </c:ser>
        <c:ser>
          <c:idx val="7"/>
          <c:order val="7"/>
          <c:tx>
            <c:strRef>
              <c:f>Sheet1!$I$3</c:f>
              <c:strCache>
                <c:ptCount val="1"/>
                <c:pt idx="0">
                  <c:v>LINE  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0.10818563846297596"/>
                  <c:y val="1.30718927339009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57-420C-8A2D-45FE573F5B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7E202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I$4:$I$6</c:f>
              <c:numCache>
                <c:formatCode>General</c:formatCode>
                <c:ptCount val="3"/>
                <c:pt idx="2" formatCode="0">
                  <c:v>11.6705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57-420C-8A2D-45FE573F5B2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47351810328344718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Twee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4083885209713023E-2"/>
                  <c:y val="-2.8758164014582154E-2"/>
                </c:manualLayout>
              </c:layout>
              <c:tx>
                <c:rich>
                  <a:bodyPr/>
                  <a:lstStyle/>
                  <a:p>
                    <a:fld id="{B2EA48E4-340F-47C6-ACBC-03A127682C89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912D-4B54-9A85-9D4D6547E271}"/>
                </c:ext>
              </c:extLst>
            </c:dLbl>
            <c:dLbl>
              <c:idx val="1"/>
              <c:layout>
                <c:manualLayout>
                  <c:x val="5.6291390728476824E-2"/>
                  <c:y val="-2.8758164014582154E-2"/>
                </c:manualLayout>
              </c:layout>
              <c:tx>
                <c:rich>
                  <a:bodyPr/>
                  <a:lstStyle/>
                  <a:p>
                    <a:fld id="{DCEA7335-CA40-4092-8E47-44E07F8035C8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12D-4B54-9A85-9D4D6547E271}"/>
                </c:ext>
              </c:extLst>
            </c:dLbl>
            <c:dLbl>
              <c:idx val="2"/>
              <c:layout>
                <c:manualLayout>
                  <c:x val="5.6291390728476741E-2"/>
                  <c:y val="-4.1830056748483085E-2"/>
                </c:manualLayout>
              </c:layout>
              <c:tx>
                <c:rich>
                  <a:bodyPr/>
                  <a:lstStyle/>
                  <a:p>
                    <a:fld id="{98A4E6CD-581A-4BD0-AC05-7054D7A7E011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912D-4B54-9A85-9D4D6547E2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0.0%</c:formatCode>
                <c:ptCount val="3"/>
                <c:pt idx="0">
                  <c:v>2.9444138809934296E-3</c:v>
                </c:pt>
                <c:pt idx="1">
                  <c:v>2.0706318356460084E-3</c:v>
                </c:pt>
                <c:pt idx="2">
                  <c:v>5.622138937211567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F2-40E3-9E41-5FA7F7F0CEAE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urchase Int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037527593818883E-3"/>
                  <c:y val="2.0915028374241494E-2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EF2-40E3-9E41-5FA7F7F0CE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EF2-40E3-9E41-5FA7F7F0CE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EF2-40E3-9E41-5FA7F7F0CE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0.0%</c:formatCode>
                <c:ptCount val="3"/>
                <c:pt idx="0">
                  <c:v>0.23764779208849929</c:v>
                </c:pt>
                <c:pt idx="1">
                  <c:v>0.29396460510650307</c:v>
                </c:pt>
                <c:pt idx="2">
                  <c:v>0.3699867805628740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Tweets</c:v>
                  </c:pt>
                  <c:pt idx="2">
                    <c:v>Purchase Intent</c:v>
                  </c:pt>
                  <c:pt idx="3">
                    <c:v>Instore ID PO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CEF2-40E3-9E41-5FA7F7F0CEAE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Instore ID P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3.9215678201702804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CEF2-40E3-9E41-5FA7F7F0CEAE}"/>
                </c:ext>
              </c:extLst>
            </c:dLbl>
            <c:dLbl>
              <c:idx val="1"/>
              <c:layout>
                <c:manualLayout>
                  <c:x val="5.7395143487858721E-2"/>
                  <c:y val="6.0130706575944298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CEF2-40E3-9E41-5FA7F7F0CEAE}"/>
                </c:ext>
              </c:extLst>
            </c:dLbl>
            <c:dLbl>
              <c:idx val="2"/>
              <c:layout>
                <c:manualLayout>
                  <c:x val="6.4017660044150035E-2"/>
                  <c:y val="2.614378546780189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0.0%</c:formatCode>
                <c:ptCount val="3"/>
                <c:pt idx="0">
                  <c:v>4.4147376791972004E-2</c:v>
                </c:pt>
                <c:pt idx="1">
                  <c:v>1.863788087533374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F2-40E3-9E41-5FA7F7F0CE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Instore Sales Demo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6291390728476824E-2"/>
                  <c:y val="2.352940692102168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EF2-40E3-9E41-5FA7F7F0CEAE}"/>
                </c:ext>
              </c:extLst>
            </c:dLbl>
            <c:dLbl>
              <c:idx val="1"/>
              <c:layout>
                <c:manualLayout>
                  <c:x val="5.739514348785868E-2"/>
                  <c:y val="1.3071892733900935E-2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EF2-40E3-9E41-5FA7F7F0CEAE}"/>
                </c:ext>
              </c:extLst>
            </c:dLbl>
            <c:dLbl>
              <c:idx val="2"/>
              <c:layout>
                <c:manualLayout>
                  <c:x val="6.2913907284768131E-2"/>
                  <c:y val="-1.830064982746131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0.0%</c:formatCode>
                <c:ptCount val="3"/>
                <c:pt idx="0">
                  <c:v>2.1329187247828299E-2</c:v>
                </c:pt>
                <c:pt idx="1">
                  <c:v>6.1392079334245363E-3</c:v>
                </c:pt>
                <c:pt idx="2">
                  <c:v>3.93731767318064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EF2-40E3-9E41-5FA7F7F0CEAE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Instore Rental Dem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18763796909492E-2"/>
                  <c:y val="-1.5686271280681216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CEF2-40E3-9E41-5FA7F7F0CEAE}"/>
                </c:ext>
              </c:extLst>
            </c:dLbl>
            <c:dLbl>
              <c:idx val="1"/>
              <c:layout>
                <c:manualLayout>
                  <c:x val="5.6291390728476824E-2"/>
                  <c:y val="-3.3986921108142477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CEF2-40E3-9E41-5FA7F7F0CEAE}"/>
                </c:ext>
              </c:extLst>
            </c:dLbl>
            <c:dLbl>
              <c:idx val="2"/>
              <c:layout>
                <c:manualLayout>
                  <c:x val="6.4017660044150104E-2"/>
                  <c:y val="-6.013070657594427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0.0%</c:formatCode>
                <c:ptCount val="3"/>
                <c:pt idx="0">
                  <c:v>1.6314319438938548E-3</c:v>
                </c:pt>
                <c:pt idx="1">
                  <c:v>6.4352352747206181E-4</c:v>
                </c:pt>
                <c:pt idx="2">
                  <c:v>2.10694442170803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EF2-40E3-9E41-5FA7F7F0CEAE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Website P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912D-4B54-9A85-9D4D6547E271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912D-4B54-9A85-9D4D6547E271}"/>
                </c:ext>
              </c:extLst>
            </c:dLbl>
            <c:dLbl>
              <c:idx val="2"/>
              <c:layout>
                <c:manualLayout>
                  <c:x val="-2.207505518763878E-3"/>
                  <c:y val="5.2287570935603258E-3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CEF2-40E3-9E41-5FA7F7F0CE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0.0%</c:formatCode>
                <c:ptCount val="3"/>
                <c:pt idx="0">
                  <c:v>0.11229735500747667</c:v>
                </c:pt>
                <c:pt idx="1">
                  <c:v>0.10618319440626688</c:v>
                </c:pt>
                <c:pt idx="2">
                  <c:v>9.29529607862985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EF2-40E3-9E41-5FA7F7F0CEAE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76923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0.0%</c:formatCode>
                <c:ptCount val="3"/>
                <c:pt idx="0">
                  <c:v>0.53241809002488794</c:v>
                </c:pt>
                <c:pt idx="1">
                  <c:v>0.48352679263526316</c:v>
                </c:pt>
                <c:pt idx="2">
                  <c:v>0.37416059093668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D-4B54-9A85-9D4D6547E27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8719125341120446E-2"/>
          <c:y val="0.92774660537355658"/>
          <c:w val="0.80181337018303178"/>
          <c:h val="5.29695737801299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  <c:userShapes r:id="rId5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080919979770661E-2"/>
          <c:y val="9.3006208016837427E-2"/>
          <c:w val="0.95359180401504307"/>
          <c:h val="0.7122547182462449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</c:f>
              <c:strCache>
                <c:ptCount val="1"/>
                <c:pt idx="0">
                  <c:v>Twee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043950593095464"/>
                  <c:y val="-4.4444435295263277E-2"/>
                </c:manualLayout>
              </c:layout>
              <c:tx>
                <c:rich>
                  <a:bodyPr/>
                  <a:lstStyle/>
                  <a:p>
                    <a:fld id="{66DBB16F-491E-44A0-96F0-2FC1D8211F2F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DE5-4C4B-B4F5-D57890FA3C20}"/>
                </c:ext>
              </c:extLst>
            </c:dLbl>
            <c:dLbl>
              <c:idx val="1"/>
              <c:layout>
                <c:manualLayout>
                  <c:x val="9.6916301123082638E-2"/>
                  <c:y val="-2.3529406921021682E-2"/>
                </c:manualLayout>
              </c:layout>
              <c:tx>
                <c:rich>
                  <a:bodyPr/>
                  <a:lstStyle/>
                  <a:p>
                    <a:fld id="{DFBAAB1A-958B-4C58-BFD3-0CC3BF36E0E7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DE5-4C4B-B4F5-D57890FA3C20}"/>
                </c:ext>
              </c:extLst>
            </c:dLbl>
            <c:dLbl>
              <c:idx val="2"/>
              <c:layout>
                <c:manualLayout>
                  <c:x val="9.015469871914647E-2"/>
                  <c:y val="-2.6143785467801772E-2"/>
                </c:manualLayout>
              </c:layout>
              <c:tx>
                <c:rich>
                  <a:bodyPr/>
                  <a:lstStyle/>
                  <a:p>
                    <a:fld id="{D799C43B-9B0A-4784-8554-DC1D637E1618}" type="VALUE">
                      <a:rPr lang="en-US">
                        <a:solidFill>
                          <a:srgbClr val="13889E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DE5-4C4B-B4F5-D57890FA3C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4:$B$6</c:f>
              <c:numCache>
                <c:formatCode>#,##0</c:formatCode>
                <c:ptCount val="3"/>
                <c:pt idx="0">
                  <c:v>502.95019660000008</c:v>
                </c:pt>
                <c:pt idx="1">
                  <c:v>311.24759090000003</c:v>
                </c:pt>
                <c:pt idx="2">
                  <c:v>651.2253660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8-4588-AB9E-58D35DCEA77B}"/>
            </c:ext>
          </c:extLst>
        </c:ser>
        <c:ser>
          <c:idx val="2"/>
          <c:order val="1"/>
          <c:tx>
            <c:strRef>
              <c:f>Sheet1!$C$3</c:f>
              <c:strCache>
                <c:ptCount val="1"/>
                <c:pt idx="0">
                  <c:v>Purchase Int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7527289099675574E-3"/>
                  <c:y val="2.6143785467801868E-3"/>
                </c:manualLayout>
              </c:layout>
              <c:tx>
                <c:rich>
                  <a:bodyPr/>
                  <a:lstStyle/>
                  <a:p>
                    <a:fld id="{494F0FF3-A822-417F-97FC-9FB9FB1E2071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38-4588-AB9E-58D35DCEA77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D82CBD-F559-4C25-A1F1-E798BCC8C20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AD38-4588-AB9E-58D35DCEA77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A0F14D4-C943-4A8F-8085-5B876791B6B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D38-4588-AB9E-58D35DCEA7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B41E680-4600-45F4-B878-CA750DB73294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1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2B3188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4:$C$6</c:f>
              <c:numCache>
                <c:formatCode>#,##0</c:formatCode>
                <c:ptCount val="3"/>
                <c:pt idx="0">
                  <c:v>40593.818866299996</c:v>
                </c:pt>
                <c:pt idx="1">
                  <c:v>44187.370045299969</c:v>
                </c:pt>
                <c:pt idx="2">
                  <c:v>42856.42516399998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A$3:$D$3</c15:f>
                <c15:dlblRangeCache>
                  <c:ptCount val="4"/>
                  <c:pt idx="0">
                    <c:v> </c:v>
                  </c:pt>
                  <c:pt idx="1">
                    <c:v>Tweets</c:v>
                  </c:pt>
                  <c:pt idx="2">
                    <c:v>Purchase Intent</c:v>
                  </c:pt>
                  <c:pt idx="3">
                    <c:v>Instore ID PO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D38-4588-AB9E-58D35DCEA77B}"/>
            </c:ext>
          </c:extLst>
        </c:ser>
        <c:ser>
          <c:idx val="0"/>
          <c:order val="2"/>
          <c:tx>
            <c:strRef>
              <c:f>Sheet1!$D$3</c:f>
              <c:strCache>
                <c:ptCount val="1"/>
                <c:pt idx="0">
                  <c:v>Instore ID P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1153431761677829"/>
                  <c:y val="3.1372542561362245E-2"/>
                </c:manualLayout>
              </c:layout>
              <c:tx>
                <c:rich>
                  <a:bodyPr/>
                  <a:lstStyle/>
                  <a:p>
                    <a:fld id="{F9CB6965-9539-4B69-923D-B877F6D2566B}" type="VALUE">
                      <a:rPr lang="en-US" b="0" baseline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AD38-4588-AB9E-58D35DCEA77B}"/>
                </c:ext>
              </c:extLst>
            </c:dLbl>
            <c:dLbl>
              <c:idx val="1"/>
              <c:layout>
                <c:manualLayout>
                  <c:x val="0.11263800279657028"/>
                  <c:y val="3.660129965492262E-2"/>
                </c:manualLayout>
              </c:layout>
              <c:tx>
                <c:rich>
                  <a:bodyPr/>
                  <a:lstStyle/>
                  <a:p>
                    <a:fld id="{BD2D70FA-CFA0-454E-970A-CBFFC3019FD3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5.7516328029164114E-2"/>
                </c:manualLayout>
              </c:layout>
              <c:tx>
                <c:rich>
                  <a:bodyPr/>
                  <a:lstStyle/>
                  <a:p>
                    <a:fld id="{FDE185F0-4E35-4A00-A89B-51238DCAD3B0}" type="VALUE">
                      <a:rPr lang="en-US" b="0">
                        <a:solidFill>
                          <a:srgbClr val="CD3B3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4:$D$6</c:f>
              <c:numCache>
                <c:formatCode>#,##0</c:formatCode>
                <c:ptCount val="3"/>
                <c:pt idx="0">
                  <c:v>7541.036258600001</c:v>
                </c:pt>
                <c:pt idx="1">
                  <c:v>2801.5581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38-4588-AB9E-58D35DCEA77B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Instore Sales Demo</c:v>
                </c:pt>
              </c:strCache>
            </c:strRef>
          </c:tx>
          <c:spPr>
            <a:solidFill>
              <a:srgbClr val="11111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2054978748869295"/>
                  <c:y val="1.83006498274613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38-4588-AB9E-58D35DCEA77B}"/>
                </c:ext>
              </c:extLst>
            </c:dLbl>
            <c:dLbl>
              <c:idx val="1"/>
              <c:layout>
                <c:manualLayout>
                  <c:x val="0.11489187026454895"/>
                  <c:y val="-4.7929719669425136E-17"/>
                </c:manualLayout>
              </c:layout>
              <c:tx>
                <c:rich>
                  <a:bodyPr/>
                  <a:lstStyle/>
                  <a:p>
                    <a:fld id="{8A249FEC-3C6B-452F-9CB8-BE3741A43BB8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D38-4588-AB9E-58D35DCEA77B}"/>
                </c:ext>
              </c:extLst>
            </c:dLbl>
            <c:dLbl>
              <c:idx val="2"/>
              <c:layout>
                <c:manualLayout>
                  <c:x val="0.1124990438810249"/>
                  <c:y val="1.3071892733900959E-2"/>
                </c:manualLayout>
              </c:layout>
              <c:tx>
                <c:rich>
                  <a:bodyPr/>
                  <a:lstStyle/>
                  <a:p>
                    <a:fld id="{98F43DE6-7A21-4883-BFDC-5611DD27A881}" type="VALUE">
                      <a:rPr lang="en-US">
                        <a:solidFill>
                          <a:srgbClr val="11111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4:$E$6</c:f>
              <c:numCache>
                <c:formatCode>#,##0</c:formatCode>
                <c:ptCount val="3"/>
                <c:pt idx="0">
                  <c:v>3643.3461304000002</c:v>
                </c:pt>
                <c:pt idx="1">
                  <c:v>922.81672019999985</c:v>
                </c:pt>
                <c:pt idx="2">
                  <c:v>4560.686194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D38-4588-AB9E-58D35DCEA77B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Instore Rental Dem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0818563846297596"/>
                  <c:y val="-2.0915028374241494E-2"/>
                </c:manualLayout>
              </c:layout>
              <c:tx>
                <c:rich>
                  <a:bodyPr/>
                  <a:lstStyle/>
                  <a:p>
                    <a:fld id="{FFC29430-FF55-44C5-A98C-74B630F07103}" type="VALUE">
                      <a:rPr lang="en-US">
                        <a:solidFill>
                          <a:srgbClr val="ED8556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AD38-4588-AB9E-58D35DCEA77B}"/>
                </c:ext>
              </c:extLst>
            </c:dLbl>
            <c:dLbl>
              <c:idx val="1"/>
              <c:layout>
                <c:manualLayout>
                  <c:x val="0.11714573773252769"/>
                  <c:y val="-4.4444435295263228E-2"/>
                </c:manualLayout>
              </c:layout>
              <c:tx>
                <c:rich>
                  <a:bodyPr/>
                  <a:lstStyle/>
                  <a:p>
                    <a:fld id="{B2C86377-C3A7-44ED-B6F1-83C5FD7534F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418414523141094E-2"/>
                      <c:h val="5.1777870047270844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AD38-4588-AB9E-58D35DCEA77B}"/>
                </c:ext>
              </c:extLst>
            </c:dLbl>
            <c:dLbl>
              <c:idx val="2"/>
              <c:layout>
                <c:manualLayout>
                  <c:x val="0.11360272906081698"/>
                  <c:y val="-2.8758164014582057E-2"/>
                </c:manualLayout>
              </c:layout>
              <c:tx>
                <c:rich>
                  <a:bodyPr/>
                  <a:lstStyle/>
                  <a:p>
                    <a:fld id="{93F9255C-B859-44ED-BC7C-94324421C44B}" type="VALUE">
                      <a:rPr lang="en-US">
                        <a:solidFill>
                          <a:srgbClr val="EC7E4D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4:$F$6</c:f>
              <c:numCache>
                <c:formatCode>#,##0</c:formatCode>
                <c:ptCount val="3"/>
                <c:pt idx="0">
                  <c:v>278.6731248000001</c:v>
                </c:pt>
                <c:pt idx="1">
                  <c:v>96.731415100000092</c:v>
                </c:pt>
                <c:pt idx="2">
                  <c:v>244.0522490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D38-4588-AB9E-58D35DCEA77B}"/>
            </c:ext>
          </c:extLst>
        </c:ser>
        <c:ser>
          <c:idx val="5"/>
          <c:order val="5"/>
          <c:tx>
            <c:strRef>
              <c:f>Sheet1!$G$3</c:f>
              <c:strCache>
                <c:ptCount val="1"/>
                <c:pt idx="0">
                  <c:v>Website PV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6.715282765420846E-3"/>
                  <c:y val="0"/>
                </c:manualLayout>
              </c:layout>
              <c:tx>
                <c:rich>
                  <a:bodyPr/>
                  <a:lstStyle/>
                  <a:p>
                    <a:fld id="{5AF8C826-0A0B-4A90-AFA3-0920BB85AEC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D38-4588-AB9E-58D35DCEA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G$4:$G$6</c:f>
              <c:numCache>
                <c:formatCode>#,##0</c:formatCode>
                <c:ptCount val="3"/>
                <c:pt idx="0">
                  <c:v>19182.078016700001</c:v>
                </c:pt>
                <c:pt idx="1">
                  <c:v>15960.955918899996</c:v>
                </c:pt>
                <c:pt idx="2">
                  <c:v>10766.9565967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D38-4588-AB9E-58D35DCEA77B}"/>
            </c:ext>
          </c:extLst>
        </c:ser>
        <c:ser>
          <c:idx val="6"/>
          <c:order val="6"/>
          <c:tx>
            <c:strRef>
              <c:f>Sheet1!$H$3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76923C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1.6528170497007566E-16"/>
                  <c:y val="-2.614378546780186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DE5-4C4B-B4F5-D57890FA3C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4:$A$6</c:f>
              <c:numCache>
                <c:formatCode>0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4:$H$6</c:f>
              <c:numCache>
                <c:formatCode>#,##0</c:formatCode>
                <c:ptCount val="3"/>
                <c:pt idx="0">
                  <c:v>90945.021275700026</c:v>
                </c:pt>
                <c:pt idx="1">
                  <c:v>72681.462127900057</c:v>
                </c:pt>
                <c:pt idx="2">
                  <c:v>43339.8872802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E5-4C4B-B4F5-D57890FA3C2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389594224"/>
        <c:axId val="-389595312"/>
        <c:extLst/>
      </c:barChart>
      <c:catAx>
        <c:axId val="-3895942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89595312"/>
        <c:crosses val="autoZero"/>
        <c:auto val="1"/>
        <c:lblAlgn val="ctr"/>
        <c:lblOffset val="100"/>
        <c:noMultiLvlLbl val="0"/>
      </c:catAx>
      <c:valAx>
        <c:axId val="-3895953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3895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B$2:$B$7</c:f>
              <c:numCache>
                <c:formatCode>#,##0.0</c:formatCode>
                <c:ptCount val="6"/>
                <c:pt idx="0">
                  <c:v>59.663181268092693</c:v>
                </c:pt>
                <c:pt idx="1">
                  <c:v>10.521584170455791</c:v>
                </c:pt>
                <c:pt idx="2">
                  <c:v>14.832181343484017</c:v>
                </c:pt>
                <c:pt idx="3">
                  <c:v>3.9220916950613538</c:v>
                </c:pt>
                <c:pt idx="4">
                  <c:v>17.595826394957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 formatCode="#,##0.0">
                  <c:v>248.30090856917985</c:v>
                </c:pt>
                <c:pt idx="2" formatCode="#,##0.0">
                  <c:v>16.171524768545275</c:v>
                </c:pt>
                <c:pt idx="3" formatCode="#,##0.0">
                  <c:v>5.5271262193846775</c:v>
                </c:pt>
                <c:pt idx="4" formatCode="#,##0.0">
                  <c:v>20.402914648006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AFF</c:v>
                </c:pt>
                <c:pt idx="5">
                  <c:v>TV</c:v>
                </c:pt>
              </c:strCache>
            </c:strRef>
          </c:cat>
          <c:val>
            <c:numRef>
              <c:f>Sheet1!$D$2:$D$7</c:f>
              <c:numCache>
                <c:formatCode>#,##0.0</c:formatCode>
                <c:ptCount val="6"/>
                <c:pt idx="0">
                  <c:v>159.01693497398369</c:v>
                </c:pt>
                <c:pt idx="1">
                  <c:v>33.886993042831669</c:v>
                </c:pt>
                <c:pt idx="2">
                  <c:v>8.0843128839349614</c:v>
                </c:pt>
                <c:pt idx="3">
                  <c:v>3.0900619532665963</c:v>
                </c:pt>
                <c:pt idx="4">
                  <c:v>12.889946089347095</c:v>
                </c:pt>
                <c:pt idx="5" formatCode="0.0">
                  <c:v>0.58269126461489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  <c:max val="350"/>
        </c:scaling>
        <c:delete val="1"/>
        <c:axPos val="l"/>
        <c:numFmt formatCode="#,##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246.17248494210457</c:v>
                </c:pt>
                <c:pt idx="1">
                  <c:v>104.36104139431262</c:v>
                </c:pt>
                <c:pt idx="2">
                  <c:v>55.134089387723861</c:v>
                </c:pt>
                <c:pt idx="3">
                  <c:v>0</c:v>
                </c:pt>
                <c:pt idx="4">
                  <c:v>75.457641230762093</c:v>
                </c:pt>
                <c:pt idx="6" formatCode="#,##0.0">
                  <c:v>0.83740523877355155</c:v>
                </c:pt>
                <c:pt idx="7">
                  <c:v>422.59536135613058</c:v>
                </c:pt>
                <c:pt idx="8" formatCode="#,##0.0">
                  <c:v>0.932239028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C$2:$C$11</c:f>
              <c:numCache>
                <c:formatCode>#,##0</c:formatCode>
                <c:ptCount val="10"/>
                <c:pt idx="0">
                  <c:v>38.257787614222032</c:v>
                </c:pt>
                <c:pt idx="1">
                  <c:v>409.79813757164857</c:v>
                </c:pt>
                <c:pt idx="2">
                  <c:v>80.305353963431415</c:v>
                </c:pt>
                <c:pt idx="3">
                  <c:v>312.63209812431484</c:v>
                </c:pt>
                <c:pt idx="4">
                  <c:v>89.581894044586022</c:v>
                </c:pt>
                <c:pt idx="5">
                  <c:v>347.35237240008831</c:v>
                </c:pt>
                <c:pt idx="9">
                  <c:v>46.514696920737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D$2:$D$11</c:f>
              <c:numCache>
                <c:formatCode>#,##0</c:formatCode>
                <c:ptCount val="10"/>
                <c:pt idx="1">
                  <c:v>172.78829889233771</c:v>
                </c:pt>
                <c:pt idx="2">
                  <c:v>71.376057934561004</c:v>
                </c:pt>
                <c:pt idx="3">
                  <c:v>229.66042258029537</c:v>
                </c:pt>
                <c:pt idx="4">
                  <c:v>128.39018054146086</c:v>
                </c:pt>
                <c:pt idx="6" formatCode="#,##0.0">
                  <c:v>0.94923163591936854</c:v>
                </c:pt>
                <c:pt idx="7">
                  <c:v>282.49917745422573</c:v>
                </c:pt>
                <c:pt idx="9">
                  <c:v>93.182204779978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  <c:max val="550"/>
        </c:scaling>
        <c:delete val="1"/>
        <c:axPos val="l"/>
        <c:numFmt formatCode="#,##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68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Incremental Sales</a:t>
            </a:r>
            <a:endParaRPr lang="en-GB" b="1" dirty="0"/>
          </a:p>
        </c:rich>
      </c:tx>
      <c:layout>
        <c:manualLayout>
          <c:xMode val="edge"/>
          <c:yMode val="edge"/>
          <c:x val="0.43222569298258912"/>
          <c:y val="4.088590199197065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2860419706287162E-2"/>
          <c:y val="0.28934590182125469"/>
          <c:w val="0.9742791605874257"/>
          <c:h val="0.503855430142557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wn Ad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8102.4438351999997</c:v>
                </c:pt>
                <c:pt idx="1">
                  <c:v>13353.131618599999</c:v>
                </c:pt>
                <c:pt idx="2">
                  <c:v>13413.0817496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E6-4683-BC9E-9FAC349F606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Non-Ad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3:$D$3</c:f>
              <c:numCache>
                <c:formatCode>#,##0</c:formatCode>
                <c:ptCount val="3"/>
                <c:pt idx="0">
                  <c:v>162712.60354880005</c:v>
                </c:pt>
                <c:pt idx="1">
                  <c:v>136962.14198140003</c:v>
                </c:pt>
                <c:pt idx="2">
                  <c:v>102419.2328502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E6-4683-BC9E-9FAC349F606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4:$D$4</c:f>
            </c:numRef>
          </c:val>
          <c:extLst>
            <c:ext xmlns:c16="http://schemas.microsoft.com/office/drawing/2014/chart" uri="{C3380CC4-5D6E-409C-BE32-E72D297353CC}">
              <c16:uniqueId val="{00000005-F8E6-4683-BC9E-9FAC349F606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8870016"/>
        <c:axId val="118871552"/>
      </c:barChart>
      <c:catAx>
        <c:axId val="118870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1552"/>
        <c:crosses val="autoZero"/>
        <c:auto val="1"/>
        <c:lblAlgn val="ctr"/>
        <c:lblOffset val="100"/>
        <c:noMultiLvlLbl val="0"/>
      </c:catAx>
      <c:valAx>
        <c:axId val="11887155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18870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979509143457054"/>
          <c:y val="0.89660853788424133"/>
          <c:w val="0.34658421471873879"/>
          <c:h val="6.24386015328395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2471211372800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 formatCode="0">
                  <c:v>11.888669663754671</c:v>
                </c:pt>
                <c:pt idx="4" formatCode="0">
                  <c:v>9.8800694011151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D$2:$D$9</c:f>
              <c:numCache>
                <c:formatCode>#,##0.0</c:formatCode>
                <c:ptCount val="8"/>
                <c:pt idx="0">
                  <c:v>39.235433244007027</c:v>
                </c:pt>
                <c:pt idx="1">
                  <c:v>8.180633089352682</c:v>
                </c:pt>
                <c:pt idx="2">
                  <c:v>8.3170422197513751</c:v>
                </c:pt>
                <c:pt idx="3">
                  <c:v>53.038172321320083</c:v>
                </c:pt>
                <c:pt idx="4">
                  <c:v>26.96843172951473</c:v>
                </c:pt>
                <c:pt idx="5">
                  <c:v>41.35909705529486</c:v>
                </c:pt>
                <c:pt idx="6">
                  <c:v>20.296380153393134</c:v>
                </c:pt>
                <c:pt idx="7">
                  <c:v>6.173866152171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81291368637795769"/>
          <c:y val="4.4208526397537688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0.14652300111326436"/>
                  <c:y val="-0.1149694404705922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3.1009845089885441E-2"/>
                  <c:y val="-0.1223247597335127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accent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accent5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accent5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1.5015582305924747E-2"/>
                  <c:y val="0.102247601964857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3.5417915520927372E-2"/>
                  <c:y val="-0.1265309802837407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8.2170969966833991E-3"/>
                  <c:y val="0.123481010716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6</c:f>
              <c:numCache>
                <c:formatCode>#,##0</c:formatCode>
                <c:ptCount val="5"/>
                <c:pt idx="0">
                  <c:v>5354.6715982999995</c:v>
                </c:pt>
                <c:pt idx="1">
                  <c:v>519.78140100000007</c:v>
                </c:pt>
                <c:pt idx="2">
                  <c:v>268.09744889999996</c:v>
                </c:pt>
                <c:pt idx="3">
                  <c:v>1861.0903894999997</c:v>
                </c:pt>
                <c:pt idx="4">
                  <c:v>98.885495599999985</c:v>
                </c:pt>
              </c:numCache>
            </c:numRef>
          </c:xVal>
          <c:yVal>
            <c:numRef>
              <c:f>Sheet1!$B$2:$B$6</c:f>
              <c:numCache>
                <c:formatCode>0.0</c:formatCode>
                <c:ptCount val="5"/>
                <c:pt idx="0">
                  <c:v>59.663646775588703</c:v>
                </c:pt>
                <c:pt idx="1">
                  <c:v>14.832431378504666</c:v>
                </c:pt>
                <c:pt idx="2">
                  <c:v>3.9221578135280182</c:v>
                </c:pt>
                <c:pt idx="3">
                  <c:v>17.596123022251646</c:v>
                </c:pt>
                <c:pt idx="4">
                  <c:v>10.521666281283265</c:v>
                </c:pt>
              </c:numCache>
            </c:numRef>
          </c:yVal>
          <c:bubbleSize>
            <c:numRef>
              <c:f>Sheet1!$C$2:$C$6</c:f>
              <c:numCache>
                <c:formatCode>#,##0</c:formatCode>
                <c:ptCount val="5"/>
                <c:pt idx="0">
                  <c:v>89747641.78328529</c:v>
                </c:pt>
                <c:pt idx="1">
                  <c:v>35043890.959999993</c:v>
                </c:pt>
                <c:pt idx="2">
                  <c:v>68354579.709999934</c:v>
                </c:pt>
                <c:pt idx="3">
                  <c:v>105767070.79999998</c:v>
                </c:pt>
                <c:pt idx="4">
                  <c:v>9398273.3301383052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8</c15:f>
                <c15:dlblRangeCache>
                  <c:ptCount val="7"/>
                  <c:pt idx="0">
                    <c:v>Static</c:v>
                  </c:pt>
                  <c:pt idx="1">
                    <c:v>YSS</c:v>
                  </c:pt>
                  <c:pt idx="2">
                    <c:v>GAW</c:v>
                  </c:pt>
                  <c:pt idx="3">
                    <c:v>AFF</c:v>
                  </c:pt>
                  <c:pt idx="4">
                    <c:v>Video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Sale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75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Sale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9.9774102777202139E-3"/>
                  <c:y val="-0.1205692099540973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3.1009845089885441E-2"/>
                  <c:y val="-0.1223247597335127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5.8135242569780872E-2"/>
                  <c:y val="-0.19734006540266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8.3843783846386643E-3"/>
                  <c:y val="-2.799884741752520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2.5668269852868776E-2"/>
                  <c:y val="-0.1825286751187912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8.2170969966833991E-3"/>
                  <c:y val="0.123481010716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6</c:f>
              <c:numCache>
                <c:formatCode>General</c:formatCode>
                <c:ptCount val="5"/>
                <c:pt idx="0" formatCode="#,##0">
                  <c:v>12225.312656499998</c:v>
                </c:pt>
                <c:pt idx="2" formatCode="#,##0">
                  <c:v>283.33456130000002</c:v>
                </c:pt>
                <c:pt idx="3" formatCode="#,##0">
                  <c:v>486.07736760000006</c:v>
                </c:pt>
                <c:pt idx="4" formatCode="#,##0">
                  <c:v>358.41583259999993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 formatCode="0.0">
                  <c:v>248.30090856917985</c:v>
                </c:pt>
                <c:pt idx="2" formatCode="0.0">
                  <c:v>5.5271693467247962</c:v>
                </c:pt>
                <c:pt idx="3" formatCode="0.0">
                  <c:v>20.403258586559669</c:v>
                </c:pt>
                <c:pt idx="4" formatCode="0.0">
                  <c:v>16.171650923507936</c:v>
                </c:pt>
              </c:numCache>
            </c:numRef>
          </c:yVal>
          <c:bubbleSize>
            <c:numRef>
              <c:f>Sheet1!$C$2:$C$6</c:f>
              <c:numCache>
                <c:formatCode>General</c:formatCode>
                <c:ptCount val="5"/>
                <c:pt idx="0" formatCode="#,##0">
                  <c:v>49235875.643579729</c:v>
                </c:pt>
                <c:pt idx="2" formatCode="#,##0">
                  <c:v>51262145.870000161</c:v>
                </c:pt>
                <c:pt idx="3" formatCode="#,##0">
                  <c:v>23823732.215999991</c:v>
                </c:pt>
                <c:pt idx="4" formatCode="#,##0">
                  <c:v>22163218.479999986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8</c15:f>
                <c15:dlblRangeCache>
                  <c:ptCount val="7"/>
                  <c:pt idx="0">
                    <c:v>Static</c:v>
                  </c:pt>
                  <c:pt idx="1">
                    <c:v>Video</c:v>
                  </c:pt>
                  <c:pt idx="2">
                    <c:v>GAW</c:v>
                  </c:pt>
                  <c:pt idx="3">
                    <c:v>AFF</c:v>
                  </c:pt>
                  <c:pt idx="4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Sale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4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Sale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1.4768483640370715E-2"/>
                  <c:y val="-0.1093696709870872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0.10886478723295896"/>
                  <c:y val="-0.1419239529257803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EAB68B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EAB68B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8.2090609383034238E-2"/>
                  <c:y val="-0.1077437536665813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5.0306270307832121E-2"/>
                  <c:y val="8.119665751082309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2.4638000454963366E-2"/>
                  <c:y val="-0.1517299429595134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2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1.8133835427761744E-2"/>
                  <c:y val="0.1374805137942825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rgbClr val="5C702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5C702C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rgbClr val="5C702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8</c:f>
              <c:numCache>
                <c:formatCode>#,##0</c:formatCode>
                <c:ptCount val="6"/>
                <c:pt idx="0">
                  <c:v>10320.180394599998</c:v>
                </c:pt>
                <c:pt idx="1">
                  <c:v>132.84390670000002</c:v>
                </c:pt>
                <c:pt idx="2">
                  <c:v>2643.3505711999996</c:v>
                </c:pt>
                <c:pt idx="3">
                  <c:v>63.813641499999981</c:v>
                </c:pt>
                <c:pt idx="4">
                  <c:v>182.31983969999999</c:v>
                </c:pt>
                <c:pt idx="5">
                  <c:v>70.579193799999985</c:v>
                </c:pt>
              </c:numCache>
            </c:numRef>
          </c:xVal>
          <c:yVal>
            <c:numRef>
              <c:f>Sheet1!$B$2:$B$8</c:f>
              <c:numCache>
                <c:formatCode>0.0</c:formatCode>
                <c:ptCount val="6"/>
                <c:pt idx="0">
                  <c:v>159.01693497398369</c:v>
                </c:pt>
                <c:pt idx="1">
                  <c:v>0.5826958110350019</c:v>
                </c:pt>
                <c:pt idx="2">
                  <c:v>33.886993042831669</c:v>
                </c:pt>
                <c:pt idx="3">
                  <c:v>3.0900860779027681</c:v>
                </c:pt>
                <c:pt idx="4">
                  <c:v>12.890163374197517</c:v>
                </c:pt>
                <c:pt idx="5">
                  <c:v>8.08444916882436</c:v>
                </c:pt>
              </c:numCache>
            </c:numRef>
          </c:yVal>
          <c:bubbleSize>
            <c:numRef>
              <c:f>Sheet1!$C$2:$C$8</c:f>
              <c:numCache>
                <c:formatCode>#,##0</c:formatCode>
                <c:ptCount val="6"/>
                <c:pt idx="0">
                  <c:v>64899882.495461583</c:v>
                </c:pt>
                <c:pt idx="1">
                  <c:v>227981571.48931387</c:v>
                </c:pt>
                <c:pt idx="2">
                  <c:v>78004872.484818026</c:v>
                </c:pt>
                <c:pt idx="3">
                  <c:v>20651088.639999989</c:v>
                </c:pt>
                <c:pt idx="4">
                  <c:v>14144106.199999999</c:v>
                </c:pt>
                <c:pt idx="5">
                  <c:v>8730241.5200000089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9</c15:f>
                <c15:dlblRangeCache>
                  <c:ptCount val="7"/>
                  <c:pt idx="0">
                    <c:v>Static</c:v>
                  </c:pt>
                  <c:pt idx="1">
                    <c:v>TV</c:v>
                  </c:pt>
                  <c:pt idx="2">
                    <c:v>Video</c:v>
                  </c:pt>
                  <c:pt idx="3">
                    <c:v>GAW</c:v>
                  </c:pt>
                  <c:pt idx="4">
                    <c:v>AFF</c:v>
                  </c:pt>
                  <c:pt idx="5">
                    <c:v>YS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Sale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3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Sale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chemeClr val="accent3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Lbls>
            <c:dLbl>
              <c:idx val="0"/>
              <c:layout>
                <c:manualLayout>
                  <c:x val="-9.977410277720037E-3"/>
                  <c:y val="-8.977047779481964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/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3.1009845089885441E-2"/>
                  <c:y val="-0.1223247597335127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tx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8.2090609383034335E-2"/>
                  <c:y val="-0.1581416790181267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5.9888417033133476E-3"/>
                  <c:y val="4.479815586804032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E5ACA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E5ACAC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E5ACAC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0670120263486396E-3"/>
                  <c:y val="-0.140530403992503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/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8.2170969966833991E-3"/>
                  <c:y val="0.1234810107163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5.9888417033131724E-3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5.2701806989157461E-2"/>
                  <c:y val="-0.17639273873040881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>
                        <a:solidFill>
                          <a:srgbClr val="0C2C71"/>
                        </a:solidFill>
                      </a:rPr>
                      <a:pPr/>
                      <a:t>[CELLRANGE]</a:t>
                    </a:fld>
                    <a:r>
                      <a:rPr lang="en-US" baseline="0" dirty="0">
                        <a:solidFill>
                          <a:srgbClr val="0C2C71"/>
                        </a:solidFill>
                      </a:rPr>
                      <a:t>
</a:t>
                    </a:r>
                    <a:fld id="{C2BE56A5-988A-402E-AEAF-6E23D2A44DD5}" type="YVALUE">
                      <a:rPr lang="en-US" baseline="0">
                        <a:solidFill>
                          <a:srgbClr val="0C2C71"/>
                        </a:solidFill>
                      </a:rPr>
                      <a:pPr/>
                      <a:t>[Y VALUE]</a:t>
                    </a:fld>
                    <a:endParaRPr lang="en-US" baseline="0" dirty="0">
                      <a:solidFill>
                        <a:srgbClr val="0C2C7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</c:formatCode>
                <c:ptCount val="10"/>
                <c:pt idx="0">
                  <c:v>1591.4394610000002</c:v>
                </c:pt>
                <c:pt idx="1">
                  <c:v>739.0610463999999</c:v>
                </c:pt>
                <c:pt idx="2">
                  <c:v>1429.4780515999996</c:v>
                </c:pt>
                <c:pt idx="3">
                  <c:v>269.81768320000003</c:v>
                </c:pt>
                <c:pt idx="5">
                  <c:v>15.619520599999998</c:v>
                </c:pt>
                <c:pt idx="6">
                  <c:v>1285.9420086999999</c:v>
                </c:pt>
                <c:pt idx="9">
                  <c:v>23.306157599999995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0">
                  <c:v>246.17440562410343</c:v>
                </c:pt>
                <c:pt idx="1">
                  <c:v>104.36185564608671</c:v>
                </c:pt>
                <c:pt idx="2">
                  <c:v>55.134519567002499</c:v>
                </c:pt>
                <c:pt idx="3">
                  <c:v>75.458229978926695</c:v>
                </c:pt>
                <c:pt idx="5">
                  <c:v>0.83741176885575164</c:v>
                </c:pt>
                <c:pt idx="6">
                  <c:v>422.59865849730176</c:v>
                </c:pt>
                <c:pt idx="9">
                  <c:v>0.93224630399999986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0">
                  <c:v>6464682.8615889996</c:v>
                </c:pt>
                <c:pt idx="1">
                  <c:v>7081716.2249999978</c:v>
                </c:pt>
                <c:pt idx="2">
                  <c:v>25927097.267308537</c:v>
                </c:pt>
                <c:pt idx="3">
                  <c:v>3575722.4000000046</c:v>
                </c:pt>
                <c:pt idx="5">
                  <c:v>18652138.865139998</c:v>
                </c:pt>
                <c:pt idx="6">
                  <c:v>3042939.1642477503</c:v>
                </c:pt>
                <c:pt idx="8">
                  <c:v>3345</c:v>
                </c:pt>
                <c:pt idx="9">
                  <c:v>25000000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DV360 </c:v>
                  </c:pt>
                  <c:pt idx="1">
                    <c:v>FB </c:v>
                  </c:pt>
                  <c:pt idx="2">
                    <c:v>GDN </c:v>
                  </c:pt>
                  <c:pt idx="3">
                    <c:v>Others </c:v>
                  </c:pt>
                  <c:pt idx="4">
                    <c:v>smartnews </c:v>
                  </c:pt>
                  <c:pt idx="5">
                    <c:v>Teads </c:v>
                  </c:pt>
                  <c:pt idx="6">
                    <c:v>TW </c:v>
                  </c:pt>
                  <c:pt idx="7">
                    <c:v>YDN </c:v>
                  </c:pt>
                  <c:pt idx="8">
                    <c:v>LINE </c:v>
                  </c:pt>
                  <c:pt idx="9">
                    <c:v>YahooSPBP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Sale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Sale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8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1.99667982388467E-2"/>
                  <c:y val="5.425603424766105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4.65894159530671E-3"/>
                  <c:y val="-0.119524874991760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95D253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1.1335321188653984E-2"/>
                  <c:y val="-1.53475571887481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-0.15211657926415906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FC00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9.7701869235386193E-2"/>
                  <c:y val="-7.0533285448690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3B6B6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0.15793811064965069"/>
                  <c:y val="-4.17121096778787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5.9888417033131724E-3"/>
                  <c:y val="-5.319781009329788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4.3119660263856129E-2"/>
                  <c:y val="-0.15959343027989367"/>
                </c:manualLayout>
              </c:layout>
              <c:tx>
                <c:rich>
                  <a:bodyPr/>
                  <a:lstStyle/>
                  <a:p>
                    <a:fld id="{314CC03C-3C3F-4114-A595-FA75ADB3377F}" type="CELLRANGE">
                      <a:rPr lang="en-US" b="1">
                        <a:solidFill>
                          <a:srgbClr val="425886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425886"/>
                        </a:solidFill>
                      </a:rPr>
                      <a:t>
</a:t>
                    </a:r>
                    <a:fld id="{48BA41A8-9664-45C2-AAD9-B71D138C35C1}" type="YVALUE">
                      <a:rPr lang="en-US" b="1" baseline="0">
                        <a:solidFill>
                          <a:srgbClr val="425886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425886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9.8217003934338923E-2"/>
                  <c:y val="-6.9997118543813019E-2"/>
                </c:manualLayout>
              </c:layout>
              <c:tx>
                <c:rich>
                  <a:bodyPr/>
                  <a:lstStyle/>
                  <a:p>
                    <a:fld id="{6FF38F9F-05D6-44EF-88A3-95E80F13F982}" type="CELLRANGE">
                      <a:rPr lang="en-US" b="1">
                        <a:solidFill>
                          <a:srgbClr val="E5ACAC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E5ACAC"/>
                        </a:solidFill>
                      </a:rPr>
                      <a:t>
</a:t>
                    </a:r>
                    <a:fld id="{A1B7855F-FAE9-4C00-BE2A-9F3793B26E76}" type="YVALUE">
                      <a:rPr lang="en-US" b="1" baseline="0">
                        <a:solidFill>
                          <a:srgbClr val="E5ACAC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E5ACA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9.8217003934338923E-2"/>
                  <c:y val="-1.3999423708762603E-2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 b="1">
                        <a:solidFill>
                          <a:srgbClr val="FF0000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FF0000"/>
                        </a:solidFill>
                      </a:rPr>
                      <a:t>
</a:t>
                    </a:r>
                    <a:fld id="{C2BE56A5-988A-402E-AEAF-6E23D2A44DD5}" type="YVALUE">
                      <a:rPr lang="en-US" b="1" baseline="0">
                        <a:solidFill>
                          <a:srgbClr val="FF0000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</c:formatCode>
                <c:ptCount val="10"/>
                <c:pt idx="0">
                  <c:v>6764.145583399998</c:v>
                </c:pt>
                <c:pt idx="1">
                  <c:v>979.48201789999996</c:v>
                </c:pt>
                <c:pt idx="2">
                  <c:v>2341.4980611000005</c:v>
                </c:pt>
                <c:pt idx="3">
                  <c:v>1737.4963686999997</c:v>
                </c:pt>
                <c:pt idx="7">
                  <c:v>269.17609770000001</c:v>
                </c:pt>
                <c:pt idx="8">
                  <c:v>82.540738899999994</c:v>
                </c:pt>
                <c:pt idx="9">
                  <c:v>50.998129700000007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0">
                  <c:v>409.79813757164857</c:v>
                </c:pt>
                <c:pt idx="1">
                  <c:v>80.305980533754507</c:v>
                </c:pt>
                <c:pt idx="2">
                  <c:v>312.63209812431484</c:v>
                </c:pt>
                <c:pt idx="3">
                  <c:v>347.35508259505468</c:v>
                </c:pt>
                <c:pt idx="7">
                  <c:v>46.515059846456232</c:v>
                </c:pt>
                <c:pt idx="8">
                  <c:v>89.582592986595159</c:v>
                </c:pt>
                <c:pt idx="9">
                  <c:v>38.258086113256297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0">
                  <c:v>16506042.764084948</c:v>
                </c:pt>
                <c:pt idx="1">
                  <c:v>12196875.144165637</c:v>
                </c:pt>
                <c:pt idx="2">
                  <c:v>7489627.8250000048</c:v>
                </c:pt>
                <c:pt idx="3">
                  <c:v>5002075.5582999969</c:v>
                </c:pt>
                <c:pt idx="7">
                  <c:v>5786859.1073199986</c:v>
                </c:pt>
                <c:pt idx="8">
                  <c:v>921392.60706989258</c:v>
                </c:pt>
                <c:pt idx="9">
                  <c:v>1333002.6376392448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FB </c:v>
                  </c:pt>
                  <c:pt idx="1">
                    <c:v>GDN </c:v>
                  </c:pt>
                  <c:pt idx="2">
                    <c:v>LINE </c:v>
                  </c:pt>
                  <c:pt idx="3">
                    <c:v>smartnews </c:v>
                  </c:pt>
                  <c:pt idx="4">
                    <c:v>Teads </c:v>
                  </c:pt>
                  <c:pt idx="5">
                    <c:v>TW </c:v>
                  </c:pt>
                  <c:pt idx="6">
                    <c:v>YahooSPBP </c:v>
                  </c:pt>
                  <c:pt idx="7">
                    <c:v>YDN </c:v>
                  </c:pt>
                  <c:pt idx="8">
                    <c:v>Others </c:v>
                  </c:pt>
                  <c:pt idx="9">
                    <c:v>DV360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Sale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Sale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95D253"/>
              </a:solidFill>
              <a:ln>
                <a:solidFill>
                  <a:srgbClr val="95D25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7"/>
            <c:invertIfNegative val="0"/>
            <c:bubble3D val="1"/>
            <c:spPr>
              <a:solidFill>
                <a:srgbClr val="D1E2AE"/>
              </a:solidFill>
              <a:ln>
                <a:solidFill>
                  <a:srgbClr val="D1E2A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3A1-4C01-9F82-9512D211639E}"/>
              </c:ext>
            </c:extLst>
          </c:dPt>
          <c:dPt>
            <c:idx val="8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rgbClr val="425886"/>
              </a:solidFill>
              <a:ln>
                <a:solidFill>
                  <a:srgbClr val="42588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1.99667982388467E-2"/>
                  <c:y val="5.425603424766105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4.65894159530671E-3"/>
                  <c:y val="-0.1195248749917601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0.10844151287761297"/>
                  <c:y val="2.665071393753964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92D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92D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92D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2.3955366813253392E-3"/>
                  <c:y val="-1.959919319226764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7.374650242213282E-2"/>
                  <c:y val="-7.89329396739479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3B6B6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0.15793811064965069"/>
                  <c:y val="-4.17121096778787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-5.9888417033133259E-3"/>
                  <c:y val="6.719723380206038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2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chemeClr val="tx2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4.3119660263856108E-2"/>
                  <c:y val="-0.11199538967010082"/>
                </c:manualLayout>
              </c:layout>
              <c:tx>
                <c:rich>
                  <a:bodyPr/>
                  <a:lstStyle/>
                  <a:p>
                    <a:fld id="{314CC03C-3C3F-4114-A595-FA75ADB3377F}" type="CELLRANGE">
                      <a:rPr lang="en-US" b="1">
                        <a:solidFill>
                          <a:srgbClr val="D1E2AE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D1E2AE"/>
                        </a:solidFill>
                      </a:rPr>
                      <a:t>
</a:t>
                    </a:r>
                    <a:fld id="{48BA41A8-9664-45C2-AAD9-B71D138C35C1}" type="YVALUE">
                      <a:rPr lang="en-US" b="1" baseline="0">
                        <a:solidFill>
                          <a:srgbClr val="D1E2AE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D1E2AE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9.8217003934338923E-2"/>
                  <c:y val="-6.9997118543813019E-2"/>
                </c:manualLayout>
              </c:layout>
              <c:tx>
                <c:rich>
                  <a:bodyPr/>
                  <a:lstStyle/>
                  <a:p>
                    <a:fld id="{6FF38F9F-05D6-44EF-88A3-95E80F13F982}" type="CELLRANGE">
                      <a:rPr lang="en-US" b="1">
                        <a:solidFill>
                          <a:srgbClr val="E5ACAC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E5ACAC"/>
                        </a:solidFill>
                      </a:rPr>
                      <a:t>
</a:t>
                    </a:r>
                    <a:fld id="{A1B7855F-FAE9-4C00-BE2A-9F3793B26E76}" type="YVALUE">
                      <a:rPr lang="en-US" b="1" baseline="0">
                        <a:solidFill>
                          <a:srgbClr val="E5ACAC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E5ACA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2.7548671835241401E-2"/>
                  <c:y val="-0.11759515915360591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 b="1">
                        <a:solidFill>
                          <a:srgbClr val="425886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425886"/>
                        </a:solidFill>
                      </a:rPr>
                      <a:t>
</a:t>
                    </a:r>
                    <a:fld id="{C2BE56A5-988A-402E-AEAF-6E23D2A44DD5}" type="YVALUE">
                      <a:rPr lang="en-US" b="1" baseline="0">
                        <a:solidFill>
                          <a:srgbClr val="425886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425886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</c:formatCode>
                <c:ptCount val="10"/>
                <c:pt idx="1">
                  <c:v>5365.4638853999986</c:v>
                </c:pt>
                <c:pt idx="2">
                  <c:v>674.33409440000003</c:v>
                </c:pt>
                <c:pt idx="3">
                  <c:v>1791.4137488000001</c:v>
                </c:pt>
                <c:pt idx="4">
                  <c:v>431.70366419999993</c:v>
                </c:pt>
                <c:pt idx="6">
                  <c:v>0.60988940000000003</c:v>
                </c:pt>
                <c:pt idx="7">
                  <c:v>1317.7004827000001</c:v>
                </c:pt>
                <c:pt idx="9">
                  <c:v>738.99328760000003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1">
                  <c:v>172.78829889233771</c:v>
                </c:pt>
                <c:pt idx="2">
                  <c:v>71.376614830299687</c:v>
                </c:pt>
                <c:pt idx="3">
                  <c:v>229.66221446770274</c:v>
                </c:pt>
                <c:pt idx="4">
                  <c:v>128.39118229348466</c:v>
                </c:pt>
                <c:pt idx="6">
                  <c:v>0.94923895105399769</c:v>
                </c:pt>
                <c:pt idx="7">
                  <c:v>282.50138155162233</c:v>
                </c:pt>
                <c:pt idx="9">
                  <c:v>93.18293180258982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1">
                  <c:v>31052240.920220844</c:v>
                </c:pt>
                <c:pt idx="2">
                  <c:v>9447549.3970014155</c:v>
                </c:pt>
                <c:pt idx="3">
                  <c:v>7800211.0750000002</c:v>
                </c:pt>
                <c:pt idx="4">
                  <c:v>3362408.9792489363</c:v>
                </c:pt>
                <c:pt idx="6">
                  <c:v>642503.55437142856</c:v>
                </c:pt>
                <c:pt idx="7">
                  <c:v>4664403.6764089689</c:v>
                </c:pt>
                <c:pt idx="9">
                  <c:v>7930564.8932099957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DV360 </c:v>
                  </c:pt>
                  <c:pt idx="1">
                    <c:v>FB </c:v>
                  </c:pt>
                  <c:pt idx="2">
                    <c:v>GDN </c:v>
                  </c:pt>
                  <c:pt idx="3">
                    <c:v>LINE </c:v>
                  </c:pt>
                  <c:pt idx="4">
                    <c:v>Others </c:v>
                  </c:pt>
                  <c:pt idx="5">
                    <c:v>smartnews </c:v>
                  </c:pt>
                  <c:pt idx="6">
                    <c:v>Teads </c:v>
                  </c:pt>
                  <c:pt idx="7">
                    <c:v>TW </c:v>
                  </c:pt>
                  <c:pt idx="8">
                    <c:v>YahooSPBP </c:v>
                  </c:pt>
                  <c:pt idx="9">
                    <c:v>YDN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Sale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Sale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5384853342222E-2"/>
          <c:y val="3.0965402463589923E-2"/>
          <c:w val="0.89608191438210116"/>
          <c:h val="0.76555265254846372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fficiency 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7-4A22-9688-D1425316C3AE}"/>
              </c:ext>
            </c:extLst>
          </c:dPt>
          <c:dPt>
            <c:idx val="1"/>
            <c:invertIfNegative val="0"/>
            <c:bubble3D val="1"/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237-4A22-9688-D1425316C3AE}"/>
              </c:ext>
            </c:extLst>
          </c:dPt>
          <c:dPt>
            <c:idx val="2"/>
            <c:invertIfNegative val="0"/>
            <c:bubble3D val="1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7-4A22-9688-D1425316C3AE}"/>
              </c:ext>
            </c:extLst>
          </c:dPt>
          <c:dPt>
            <c:idx val="3"/>
            <c:invertIfNegative val="0"/>
            <c:bubble3D val="1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7-4A22-9688-D1425316C3AE}"/>
              </c:ext>
            </c:extLst>
          </c:dPt>
          <c:dPt>
            <c:idx val="4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7-4A22-9688-D1425316C3AE}"/>
              </c:ext>
            </c:extLst>
          </c:dPt>
          <c:dPt>
            <c:idx val="5"/>
            <c:invertIfNegative val="0"/>
            <c:bubble3D val="1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7-4A22-9688-D1425316C3AE}"/>
              </c:ext>
            </c:extLst>
          </c:dPt>
          <c:dPt>
            <c:idx val="6"/>
            <c:invertIfNegative val="0"/>
            <c:bubble3D val="1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7-4A22-9688-D1425316C3AE}"/>
              </c:ext>
            </c:extLst>
          </c:dPt>
          <c:dPt>
            <c:idx val="8"/>
            <c:invertIfNegative val="0"/>
            <c:bubble3D val="1"/>
            <c:spPr>
              <a:solidFill>
                <a:srgbClr val="E5ACAC"/>
              </a:solidFill>
              <a:ln>
                <a:solidFill>
                  <a:srgbClr val="F3B6B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3A1-4C01-9F82-9512D211639E}"/>
              </c:ext>
            </c:extLst>
          </c:dPt>
          <c:dPt>
            <c:idx val="9"/>
            <c:invertIfNegative val="0"/>
            <c:bubble3D val="1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93A1-4C01-9F82-9512D211639E}"/>
              </c:ext>
            </c:extLst>
          </c:dPt>
          <c:dLbls>
            <c:dLbl>
              <c:idx val="0"/>
              <c:layout>
                <c:manualLayout>
                  <c:x val="-1.5966251981033384E-2"/>
                  <c:y val="-0.1233690946958498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489952-3FE7-4FD2-9146-C0EF2C51EBFE}" type="CELLRANG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E0F0E-4EB3-458E-9062-A578462A3888}" type="YVALUE">
                      <a:rPr lang="en-US" altLang="ja-JP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237-4A22-9688-D1425316C3AE}"/>
                </c:ext>
              </c:extLst>
            </c:dLbl>
            <c:dLbl>
              <c:idx val="1"/>
              <c:layout>
                <c:manualLayout>
                  <c:x val="-1.1845551639282727E-2"/>
                  <c:y val="-0.1195248749917602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894E537-048A-4259-8C47-E3435BBF380F}" type="CELLRANG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95D253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068F7C0-C1DF-4069-A475-69BE2669BF9F}" type="YVALUE">
                      <a:rPr lang="en-US" altLang="ja-JP" b="1">
                        <a:solidFill>
                          <a:srgbClr val="95D253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237-4A22-9688-D1425316C3AE}"/>
                </c:ext>
              </c:extLst>
            </c:dLbl>
            <c:dLbl>
              <c:idx val="2"/>
              <c:layout>
                <c:manualLayout>
                  <c:x val="-4.4959790822491505E-2"/>
                  <c:y val="9.104806299784762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C98A1F0-725C-45CC-B7FF-014015DADBBE}" type="CELLRANG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 dirty="0">
                      <a:solidFill>
                        <a:srgbClr val="00B05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435939E-3B3C-407F-A31F-756B69F21EC4}" type="YVALUE">
                      <a:rPr lang="en-US" altLang="ja-JP" b="1">
                        <a:solidFill>
                          <a:srgbClr val="00B05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237-4A22-9688-D1425316C3AE}"/>
                </c:ext>
              </c:extLst>
            </c:dLbl>
            <c:dLbl>
              <c:idx val="3"/>
              <c:layout>
                <c:manualLayout>
                  <c:x val="3.593305021987965E-3"/>
                  <c:y val="-4.47981558680404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8D257-58D2-49D7-80B8-3EDB5A3034FA}" type="CELLRANG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FC000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CD6E19-0AA9-4604-87A9-5D82FD9420B9}" type="YVALUE">
                      <a:rPr lang="en-US" altLang="ja-JP">
                        <a:solidFill>
                          <a:srgbClr val="FFC000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237-4A22-9688-D1425316C3AE}"/>
                </c:ext>
              </c:extLst>
            </c:dLbl>
            <c:dLbl>
              <c:idx val="4"/>
              <c:layout>
                <c:manualLayout>
                  <c:x val="-4.7395598927554065E-2"/>
                  <c:y val="-0.1265309802837408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22B95D-B5E3-426B-ADDD-C686DD3E4ADC}" type="CELLRANG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F3B6B6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9E1932D-6989-43BD-B4CD-34270B5FE1F6}" type="YVALUE">
                      <a:rPr lang="en-US" altLang="ja-JP">
                        <a:solidFill>
                          <a:srgbClr val="F3B6B6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237-4A22-9688-D1425316C3AE}"/>
                </c:ext>
              </c:extLst>
            </c:dLbl>
            <c:dLbl>
              <c:idx val="5"/>
              <c:layout>
                <c:manualLayout>
                  <c:x val="-1.8996983132781191E-2"/>
                  <c:y val="-0.1453078451227220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02E42C4-A378-4926-930F-AE4BC33F9212}" type="CELLRANG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="1" baseline="0">
                      <a:solidFill>
                        <a:schemeClr val="accent1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341D1F-CFA6-41FF-BF40-55A78CD7DF8B}" type="YVALUE">
                      <a:rPr lang="en-US" altLang="ja-JP" b="1">
                        <a:solidFill>
                          <a:schemeClr val="accent1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237-4A22-9688-D1425316C3AE}"/>
                </c:ext>
              </c:extLst>
            </c:dLbl>
            <c:dLbl>
              <c:idx val="6"/>
              <c:layout>
                <c:manualLayout>
                  <c:x val="-9.9414772275001576E-2"/>
                  <c:y val="0.1035957354448431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8D0B16-24B6-4363-9341-8A85714BEB38}" type="CELLRANG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rgbClr val="D1E2AE"/>
                      </a:solidFill>
                    </a:endParaRPr>
                  </a:p>
                  <a:p>
                    <a:pPr>
                      <a:defRPr lang="ja-JP" sz="1400" b="1" i="0" u="none" strike="noStrike" kern="1200" baseline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B0C94A-25DD-44B1-B852-385BD5E306DC}" type="YVALUE">
                      <a:rPr lang="en-US" altLang="ja-JP">
                        <a:solidFill>
                          <a:srgbClr val="D1E2AE"/>
                        </a:solidFill>
                      </a:rPr>
                      <a:pPr>
                        <a:defRPr lang="ja-JP" sz="1400" b="1" i="0" u="none" strike="noStrike" kern="1200" baseline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Y 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237-4A22-9688-D1425316C3AE}"/>
                </c:ext>
              </c:extLst>
            </c:dLbl>
            <c:dLbl>
              <c:idx val="7"/>
              <c:layout>
                <c:manualLayout>
                  <c:x val="-8.1448247165061535E-2"/>
                  <c:y val="-6.4397349060307973E-2"/>
                </c:manualLayout>
              </c:layout>
              <c:tx>
                <c:rich>
                  <a:bodyPr/>
                  <a:lstStyle/>
                  <a:p>
                    <a:fld id="{314CC03C-3C3F-4114-A595-FA75ADB3377F}" type="CELLRANGE">
                      <a:rPr lang="en-US" b="1">
                        <a:solidFill>
                          <a:srgbClr val="425886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425886"/>
                        </a:solidFill>
                      </a:rPr>
                      <a:t>
</a:t>
                    </a:r>
                    <a:fld id="{48BA41A8-9664-45C2-AAD9-B71D138C35C1}" type="YVALUE">
                      <a:rPr lang="en-US" b="1" baseline="0">
                        <a:solidFill>
                          <a:srgbClr val="425886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425886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93A1-4C01-9F82-9512D211639E}"/>
                </c:ext>
              </c:extLst>
            </c:dLbl>
            <c:dLbl>
              <c:idx val="8"/>
              <c:layout>
                <c:manualLayout>
                  <c:x val="-9.8217003934338923E-2"/>
                  <c:y val="-6.9997118543813019E-2"/>
                </c:manualLayout>
              </c:layout>
              <c:tx>
                <c:rich>
                  <a:bodyPr/>
                  <a:lstStyle/>
                  <a:p>
                    <a:fld id="{6FF38F9F-05D6-44EF-88A3-95E80F13F982}" type="CELLRANGE">
                      <a:rPr lang="en-US" b="1">
                        <a:solidFill>
                          <a:srgbClr val="E5ACAC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E5ACAC"/>
                        </a:solidFill>
                      </a:rPr>
                      <a:t>
</a:t>
                    </a:r>
                    <a:fld id="{A1B7855F-FAE9-4C00-BE2A-9F3793B26E76}" type="YVALUE">
                      <a:rPr lang="en-US" b="1" baseline="0">
                        <a:solidFill>
                          <a:srgbClr val="E5ACAC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E5ACA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3A1-4C01-9F82-9512D211639E}"/>
                </c:ext>
              </c:extLst>
            </c:dLbl>
            <c:dLbl>
              <c:idx val="9"/>
              <c:layout>
                <c:manualLayout>
                  <c:x val="-9.8217003934338923E-2"/>
                  <c:y val="-1.3999423708762603E-2"/>
                </c:manualLayout>
              </c:layout>
              <c:tx>
                <c:rich>
                  <a:bodyPr/>
                  <a:lstStyle/>
                  <a:p>
                    <a:fld id="{05D4379A-2266-4144-B783-F40B55A806AE}" type="CELLRANGE">
                      <a:rPr lang="en-US" b="1">
                        <a:solidFill>
                          <a:srgbClr val="FF0000"/>
                        </a:solidFill>
                      </a:rPr>
                      <a:pPr/>
                      <a:t>[CELLRANGE]</a:t>
                    </a:fld>
                    <a:r>
                      <a:rPr lang="en-US" b="1" baseline="0" dirty="0">
                        <a:solidFill>
                          <a:srgbClr val="FF0000"/>
                        </a:solidFill>
                      </a:rPr>
                      <a:t>
</a:t>
                    </a:r>
                    <a:fld id="{C2BE56A5-988A-402E-AEAF-6E23D2A44DD5}" type="YVALUE">
                      <a:rPr lang="en-US" b="1" baseline="0">
                        <a:solidFill>
                          <a:srgbClr val="FF0000"/>
                        </a:solidFill>
                      </a:rPr>
                      <a:pPr/>
                      <a:t>[Y VALUE]</a:t>
                    </a:fld>
                    <a:endParaRPr lang="en-US" b="1" baseline="0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93A1-4C01-9F82-9512D21163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11</c:f>
              <c:numCache>
                <c:formatCode>#,##0</c:formatCode>
                <c:ptCount val="10"/>
                <c:pt idx="0">
                  <c:v>669.3171433</c:v>
                </c:pt>
                <c:pt idx="1">
                  <c:v>11.6705652</c:v>
                </c:pt>
                <c:pt idx="2">
                  <c:v>49.902256899999998</c:v>
                </c:pt>
                <c:pt idx="3">
                  <c:v>155.2420434</c:v>
                </c:pt>
                <c:pt idx="4">
                  <c:v>411.13390149999998</c:v>
                </c:pt>
                <c:pt idx="5">
                  <c:v>1276.0267197999999</c:v>
                </c:pt>
                <c:pt idx="6">
                  <c:v>60.8022682</c:v>
                </c:pt>
                <c:pt idx="7">
                  <c:v>9.2556729000000004</c:v>
                </c:pt>
              </c:numCache>
            </c:numRef>
          </c:xVal>
          <c:yVal>
            <c:numRef>
              <c:f>Sheet1!$B$2:$B$11</c:f>
              <c:numCache>
                <c:formatCode>0.0</c:formatCode>
                <c:ptCount val="10"/>
                <c:pt idx="0">
                  <c:v>39.235433244007027</c:v>
                </c:pt>
                <c:pt idx="1">
                  <c:v>8.180633089352682</c:v>
                </c:pt>
                <c:pt idx="2">
                  <c:v>8.3170422197513751</c:v>
                </c:pt>
                <c:pt idx="3">
                  <c:v>53.038172321320083</c:v>
                </c:pt>
                <c:pt idx="4">
                  <c:v>26.96843172951473</c:v>
                </c:pt>
                <c:pt idx="5">
                  <c:v>41.35909705529486</c:v>
                </c:pt>
                <c:pt idx="6">
                  <c:v>20.296380153393134</c:v>
                </c:pt>
                <c:pt idx="7">
                  <c:v>6.173866152171934</c:v>
                </c:pt>
              </c:numCache>
            </c:numRef>
          </c:yVal>
          <c:bubbleSize>
            <c:numRef>
              <c:f>Sheet1!$C$2:$C$11</c:f>
              <c:numCache>
                <c:formatCode>#,##0</c:formatCode>
                <c:ptCount val="10"/>
                <c:pt idx="0">
                  <c:v>17058997.135000013</c:v>
                </c:pt>
                <c:pt idx="1">
                  <c:v>1426609.050000001</c:v>
                </c:pt>
                <c:pt idx="2">
                  <c:v>6000000.4306208445</c:v>
                </c:pt>
                <c:pt idx="3">
                  <c:v>2926987.0473571429</c:v>
                </c:pt>
                <c:pt idx="4">
                  <c:v>15245005.924836472</c:v>
                </c:pt>
                <c:pt idx="5">
                  <c:v>30852383.408999998</c:v>
                </c:pt>
                <c:pt idx="6">
                  <c:v>2995719.8150841258</c:v>
                </c:pt>
                <c:pt idx="7">
                  <c:v>1499169.6729194401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Sheet1!$F$2:$F$11</c15:f>
                <c15:dlblRangeCache>
                  <c:ptCount val="10"/>
                  <c:pt idx="0">
                    <c:v>FB </c:v>
                  </c:pt>
                  <c:pt idx="1">
                    <c:v>LINE </c:v>
                  </c:pt>
                  <c:pt idx="2">
                    <c:v>PremiumView </c:v>
                  </c:pt>
                  <c:pt idx="3">
                    <c:v>Teads </c:v>
                  </c:pt>
                  <c:pt idx="4">
                    <c:v>Trueview </c:v>
                  </c:pt>
                  <c:pt idx="5">
                    <c:v>Tver </c:v>
                  </c:pt>
                  <c:pt idx="6">
                    <c:v>TW </c:v>
                  </c:pt>
                  <c:pt idx="7">
                    <c:v>DV360 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8237-4A22-9688-D1425316C3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24576640"/>
        <c:axId val="224578560"/>
      </c:bubbleChart>
      <c:valAx>
        <c:axId val="224576640"/>
        <c:scaling>
          <c:orientation val="minMax"/>
          <c:min val="-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ja-JP"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100" b="1" dirty="0"/>
                  <a:t>Contribution (</a:t>
                </a:r>
                <a:r>
                  <a:rPr lang="en-IN" sz="1100" b="1" i="0" u="none" strike="noStrike" baseline="0" dirty="0">
                    <a:effectLst/>
                  </a:rPr>
                  <a:t>Incremental Sales)</a:t>
                </a:r>
                <a:endParaRPr lang="en-IN" sz="1100" b="1" dirty="0"/>
              </a:p>
            </c:rich>
          </c:tx>
          <c:layout>
            <c:manualLayout>
              <c:xMode val="edge"/>
              <c:yMode val="edge"/>
              <c:x val="0.42943842961441669"/>
              <c:y val="0.89739216089592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ja-JP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8560"/>
        <c:crosses val="autoZero"/>
        <c:crossBetween val="midCat"/>
      </c:valAx>
      <c:valAx>
        <c:axId val="224578560"/>
        <c:scaling>
          <c:orientation val="minMax"/>
          <c:max val="5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ja-JP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 dirty="0"/>
                  <a:t>Incremental Sales </a:t>
                </a:r>
              </a:p>
            </c:rich>
          </c:tx>
          <c:layout>
            <c:manualLayout>
              <c:xMode val="edge"/>
              <c:yMode val="edge"/>
              <c:x val="5.9410252821546095E-3"/>
              <c:y val="0.387304749376143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ja-JP"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4576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B$2:$B$7</c:f>
              <c:numCache>
                <c:formatCode>#,##0.0</c:formatCode>
                <c:ptCount val="5"/>
                <c:pt idx="0">
                  <c:v>21.780809326859472</c:v>
                </c:pt>
                <c:pt idx="1">
                  <c:v>18.939214098468103</c:v>
                </c:pt>
                <c:pt idx="2">
                  <c:v>37.86582091366968</c:v>
                </c:pt>
                <c:pt idx="3">
                  <c:v>33.607338276245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5"/>
                <c:pt idx="0" formatCode="#,##0.0">
                  <c:v>31.86619657317835</c:v>
                </c:pt>
                <c:pt idx="2" formatCode="#,##0.0">
                  <c:v>38.745637933886208</c:v>
                </c:pt>
                <c:pt idx="3" formatCode="#,##0.0">
                  <c:v>38.443639213245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Static</c:v>
                </c:pt>
                <c:pt idx="1">
                  <c:v>Video</c:v>
                </c:pt>
                <c:pt idx="2">
                  <c:v>YSS</c:v>
                </c:pt>
                <c:pt idx="3">
                  <c:v>GAW</c:v>
                </c:pt>
                <c:pt idx="4">
                  <c:v>TV</c:v>
                </c:pt>
              </c:strCache>
            </c:strRef>
          </c:cat>
          <c:val>
            <c:numRef>
              <c:f>Sheet1!$D$2:$D$7</c:f>
              <c:numCache>
                <c:formatCode>#,##0.0</c:formatCode>
                <c:ptCount val="5"/>
                <c:pt idx="0">
                  <c:v>37.875182011382236</c:v>
                </c:pt>
                <c:pt idx="1">
                  <c:v>25.559263623787519</c:v>
                </c:pt>
                <c:pt idx="2">
                  <c:v>38.366827248719524</c:v>
                </c:pt>
                <c:pt idx="3">
                  <c:v>35.302280345271491</c:v>
                </c:pt>
                <c:pt idx="4">
                  <c:v>100.17736294129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6881935419374192"/>
          <c:y val="1.7683410559015077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68920640125538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B$2:$B$11</c:f>
              <c:numCache>
                <c:formatCode>0</c:formatCode>
                <c:ptCount val="10"/>
                <c:pt idx="0">
                  <c:v>29.965474658308246</c:v>
                </c:pt>
                <c:pt idx="1">
                  <c:v>173.63727375099182</c:v>
                </c:pt>
                <c:pt idx="2">
                  <c:v>10.257957092487068</c:v>
                </c:pt>
                <c:pt idx="3">
                  <c:v>25.56366666666667</c:v>
                </c:pt>
                <c:pt idx="4">
                  <c:v>36.20914283091642</c:v>
                </c:pt>
                <c:pt idx="6" formatCode="0.0">
                  <c:v>1.1680951180120618</c:v>
                </c:pt>
                <c:pt idx="7">
                  <c:v>96.222597516023669</c:v>
                </c:pt>
                <c:pt idx="8" formatCode="0.0">
                  <c:v>1.5602934755349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C$2:$C$11</c:f>
              <c:numCache>
                <c:formatCode>0</c:formatCode>
                <c:ptCount val="10"/>
                <c:pt idx="0">
                  <c:v>29.965474594904581</c:v>
                </c:pt>
                <c:pt idx="1">
                  <c:v>178.60199271597315</c:v>
                </c:pt>
                <c:pt idx="2">
                  <c:v>10.257957093932598</c:v>
                </c:pt>
                <c:pt idx="3">
                  <c:v>63.440042502018848</c:v>
                </c:pt>
                <c:pt idx="4">
                  <c:v>22.012112488325911</c:v>
                </c:pt>
                <c:pt idx="5">
                  <c:v>9.3799607640052844</c:v>
                </c:pt>
                <c:pt idx="9">
                  <c:v>11.860950389206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V360 </c:v>
                </c:pt>
                <c:pt idx="1">
                  <c:v>FB </c:v>
                </c:pt>
                <c:pt idx="2">
                  <c:v>GDN </c:v>
                </c:pt>
                <c:pt idx="3">
                  <c:v>LINE </c:v>
                </c:pt>
                <c:pt idx="4">
                  <c:v>Others </c:v>
                </c:pt>
                <c:pt idx="5">
                  <c:v>smartnews </c:v>
                </c:pt>
                <c:pt idx="6">
                  <c:v>Teads </c:v>
                </c:pt>
                <c:pt idx="7">
                  <c:v>Twitter</c:v>
                </c:pt>
                <c:pt idx="8">
                  <c:v>YahooSPBP </c:v>
                </c:pt>
                <c:pt idx="9">
                  <c:v>YDN </c:v>
                </c:pt>
              </c:strCache>
            </c:strRef>
          </c:cat>
          <c:val>
            <c:numRef>
              <c:f>Sheet1!$D$2:$D$11</c:f>
              <c:numCache>
                <c:formatCode>0</c:formatCode>
                <c:ptCount val="10"/>
                <c:pt idx="1">
                  <c:v>166.19394185784051</c:v>
                </c:pt>
                <c:pt idx="2">
                  <c:v>8.0905162411698583</c:v>
                </c:pt>
                <c:pt idx="3">
                  <c:v>54.520500648241345</c:v>
                </c:pt>
                <c:pt idx="4">
                  <c:v>41.544889082343623</c:v>
                </c:pt>
                <c:pt idx="6" formatCode="0.0">
                  <c:v>1.1680952043499662</c:v>
                </c:pt>
                <c:pt idx="7">
                  <c:v>84.177560964983428</c:v>
                </c:pt>
                <c:pt idx="9" formatCode="0.0">
                  <c:v>7.5854328355959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93878610610378"/>
          <c:y val="5.7471084316798995E-2"/>
          <c:w val="0.20162872509214974"/>
          <c:h val="0.101321417220926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82449546442413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Total Sales</c:v>
                </c:pt>
                <c:pt idx="1">
                  <c:v>Own Ad</c:v>
                </c:pt>
                <c:pt idx="2">
                  <c:v>Non-Ad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3"/>
                <c:pt idx="0">
                  <c:v>-0.12001152180648111</c:v>
                </c:pt>
                <c:pt idx="1">
                  <c:v>3.0743876996353562E-2</c:v>
                </c:pt>
                <c:pt idx="2">
                  <c:v>-0.15075539880283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0.25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00120954539265E-2"/>
          <c:y val="5.9697175075163186E-2"/>
          <c:w val="0.93341062606362968"/>
          <c:h val="0.72471211372800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8910505836575919E-3"/>
                  <c:y val="8.841705279507538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12-410F-9AF2-EC334063A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 formatCode="0.0">
                  <c:v>22.820082644945185</c:v>
                </c:pt>
                <c:pt idx="4" formatCode="0.0">
                  <c:v>17.280062558700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12-410F-9AF2-EC334063A4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2-D912-410F-9AF2-EC334063A4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B </c:v>
                </c:pt>
                <c:pt idx="1">
                  <c:v>LINE </c:v>
                </c:pt>
                <c:pt idx="2">
                  <c:v>PremiumView </c:v>
                </c:pt>
                <c:pt idx="3">
                  <c:v>Teads </c:v>
                </c:pt>
                <c:pt idx="4">
                  <c:v>Trueview </c:v>
                </c:pt>
                <c:pt idx="5">
                  <c:v>Tver </c:v>
                </c:pt>
                <c:pt idx="6">
                  <c:v>Twitter</c:v>
                </c:pt>
                <c:pt idx="7">
                  <c:v>DV360  </c:v>
                </c:pt>
              </c:strCache>
            </c:strRef>
          </c:cat>
          <c:val>
            <c:numRef>
              <c:f>Sheet1!$D$2:$D$9</c:f>
              <c:numCache>
                <c:formatCode>0.0</c:formatCode>
                <c:ptCount val="8"/>
                <c:pt idx="0">
                  <c:v>17.543259639725768</c:v>
                </c:pt>
                <c:pt idx="1">
                  <c:v>1.6368880884218988</c:v>
                </c:pt>
                <c:pt idx="2">
                  <c:v>37.439843420001267</c:v>
                </c:pt>
                <c:pt idx="3">
                  <c:v>110.04953964680263</c:v>
                </c:pt>
                <c:pt idx="4">
                  <c:v>16.813511431713366</c:v>
                </c:pt>
                <c:pt idx="5">
                  <c:v>92.017777794123333</c:v>
                </c:pt>
                <c:pt idx="6">
                  <c:v>4.8439797353931366</c:v>
                </c:pt>
                <c:pt idx="7">
                  <c:v>2.0463914273156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912-410F-9AF2-EC334063A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6"/>
        <c:overlap val="-27"/>
        <c:axId val="730402240"/>
        <c:axId val="730404416"/>
      </c:barChart>
      <c:catAx>
        <c:axId val="730402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404416"/>
        <c:crosses val="autoZero"/>
        <c:auto val="1"/>
        <c:lblAlgn val="ctr"/>
        <c:lblOffset val="100"/>
        <c:noMultiLvlLbl val="0"/>
      </c:catAx>
      <c:valAx>
        <c:axId val="73040441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7304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81291368637795769"/>
          <c:y val="4.4208526397537688E-2"/>
          <c:w val="0.17280400557252179"/>
          <c:h val="9.0643143553439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52948356720222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1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34E-424A-B88D-8530D6C4A85F}"/>
                </c:ext>
              </c:extLst>
            </c:dLbl>
            <c:dLbl>
              <c:idx val="2"/>
              <c:layout>
                <c:manualLayout>
                  <c:x val="-1.539949565641259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Total Sales</c:v>
                </c:pt>
                <c:pt idx="1">
                  <c:v>Own Ad</c:v>
                </c:pt>
                <c:pt idx="2">
                  <c:v>Non-Ad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3"/>
                <c:pt idx="0" formatCode="0.0%">
                  <c:v>-0.22940422602537192</c:v>
                </c:pt>
                <c:pt idx="1">
                  <c:v>3.9882927173142925E-4</c:v>
                </c:pt>
                <c:pt idx="2" formatCode="0.0%">
                  <c:v>-0.22980305529710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82449546442413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Lbls>
            <c:dLbl>
              <c:idx val="0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96A-4C63-B0C2-DB787DE480DC}"/>
                </c:ext>
              </c:extLst>
            </c:dLbl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dLbl>
              <c:idx val="4"/>
              <c:layout>
                <c:manualLayout>
                  <c:x val="0"/>
                  <c:y val="-1.0891847613191044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96A-4C63-B0C2-DB787DE480DC}"/>
                </c:ext>
              </c:extLst>
            </c:dLbl>
            <c:dLbl>
              <c:idx val="6"/>
              <c:layout>
                <c:manualLayout>
                  <c:x val="-0.14372862612651757"/>
                  <c:y val="-9.9842748493441131E-1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240543C-CBA7-40B1-B1D4-7BF4905E7E33}" type="VALUE">
                      <a:rPr lang="en-US">
                        <a:solidFill>
                          <a:srgbClr val="FF0000"/>
                        </a:solidFill>
                      </a:rPr>
                      <a:pPr>
                        <a:defRPr sz="14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C96A-4C63-B0C2-DB787DE480D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Own Ad</c:v>
                </c:pt>
                <c:pt idx="1">
                  <c:v>Static</c:v>
                </c:pt>
                <c:pt idx="2">
                  <c:v>Video</c:v>
                </c:pt>
                <c:pt idx="3">
                  <c:v>YSS</c:v>
                </c:pt>
                <c:pt idx="4">
                  <c:v>GAW</c:v>
                </c:pt>
                <c:pt idx="5">
                  <c:v>AFF</c:v>
                </c:pt>
                <c:pt idx="6">
                  <c:v>TV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3.0743876996353562E-2</c:v>
                </c:pt>
                <c:pt idx="1">
                  <c:v>4.0227864026244134E-2</c:v>
                </c:pt>
                <c:pt idx="2">
                  <c:v>-5.7890389116423027E-4</c:v>
                </c:pt>
                <c:pt idx="3">
                  <c:v>-9.4468005524854591E-4</c:v>
                </c:pt>
                <c:pt idx="4" formatCode="0.00%">
                  <c:v>8.9216611378157946E-5</c:v>
                </c:pt>
                <c:pt idx="5">
                  <c:v>-8.0496196948559567E-3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ax val="5.000000000000001E-2"/>
          <c:min val="-5.000000000000001E-2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52948356720222"/>
          <c:y val="0.11866944457130409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2"/>
              <c:layout>
                <c:manualLayout>
                  <c:x val="5.1331652188041045E-3"/>
                  <c:y val="2.1441066981096283E-7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dLbl>
              <c:idx val="6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934E-424A-B88D-8530D6C4A85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Own Ad</c:v>
                </c:pt>
                <c:pt idx="1">
                  <c:v>Static</c:v>
                </c:pt>
                <c:pt idx="2">
                  <c:v>Video</c:v>
                </c:pt>
                <c:pt idx="3">
                  <c:v>YSS</c:v>
                </c:pt>
                <c:pt idx="4">
                  <c:v>GAW</c:v>
                </c:pt>
                <c:pt idx="5">
                  <c:v>AFF</c:v>
                </c:pt>
                <c:pt idx="6">
                  <c:v>TV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 formatCode="0.00%">
                  <c:v>3.9882927173142925E-4</c:v>
                </c:pt>
                <c:pt idx="1">
                  <c:v>-1.267424271847249E-2</c:v>
                </c:pt>
                <c:pt idx="2">
                  <c:v>1.758537577647731E-2</c:v>
                </c:pt>
                <c:pt idx="3">
                  <c:v>-1.9148754860796799E-3</c:v>
                </c:pt>
                <c:pt idx="4">
                  <c:v>-1.4603918945998568E-3</c:v>
                </c:pt>
                <c:pt idx="5">
                  <c:v>-2.0207980288704346E-3</c:v>
                </c:pt>
                <c:pt idx="6">
                  <c:v>8.837616232765848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5.000000000000001E-2"/>
        </c:scaling>
        <c:delete val="1"/>
        <c:axPos val="t"/>
        <c:numFmt formatCode="0.0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612893055959177"/>
          <c:y val="0.11866944457130409"/>
          <c:w val="0.58387106944040823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96A-4C63-B0C2-DB787DE480D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96A-4C63-B0C2-DB787DE480DC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A-4C63-B0C2-DB787DE480D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96A-4C63-B0C2-DB787DE480D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96A-4C63-B0C2-DB787DE480D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96A-4C63-B0C2-DB787DE480D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6A-4C63-B0C2-DB787DE480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6A-4C63-B0C2-DB787DE480D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6A-4C63-B0C2-DB787DE480D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6A-4C63-B0C2-DB787DE480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6A-4C63-B0C2-DB787DE480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96A-4C63-B0C2-DB787DE480DC}"/>
              </c:ext>
            </c:extLst>
          </c:dPt>
          <c:dPt>
            <c:idx val="13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63-4DB8-8FC7-5C9CF91BA035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6F4745E-90DA-478A-BB5F-97566E23BC91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96A-4C63-B0C2-DB787DE480DC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050D885-2CB9-4E80-8AC1-3E8BD6C85EC2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96A-4C63-B0C2-DB787DE480DC}"/>
                </c:ext>
              </c:extLst>
            </c:dLbl>
            <c:dLbl>
              <c:idx val="2"/>
              <c:layout>
                <c:manualLayout>
                  <c:x val="-8.2130643500867184E-2"/>
                  <c:y val="2.7230155059652264E-3"/>
                </c:manualLayout>
              </c:layout>
              <c:tx>
                <c:rich>
                  <a:bodyPr/>
                  <a:lstStyle/>
                  <a:p>
                    <a:fld id="{30C545F3-CC32-4AF1-BF7C-883699B676E1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7610196325381237E-2"/>
                      <c:h val="5.470538151484139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96A-4C63-B0C2-DB787DE480DC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B800ED4-190A-416E-8A56-1F85236B12DE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96A-4C63-B0C2-DB787DE480DC}"/>
                </c:ext>
              </c:extLst>
            </c:dLbl>
            <c:dLbl>
              <c:idx val="6"/>
              <c:layout>
                <c:manualLayout>
                  <c:x val="1.4346590507202126E-3"/>
                  <c:y val="2.144106698608842E-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240543C-CBA7-40B1-B1D4-7BF4905E7E33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C96A-4C63-B0C2-DB787DE480DC}"/>
                </c:ext>
              </c:extLst>
            </c:dLbl>
            <c:dLbl>
              <c:idx val="10"/>
              <c:layout>
                <c:manualLayout>
                  <c:x val="-5.132761032566404E-3"/>
                  <c:y val="2.7234443273048484E-3"/>
                </c:manualLayout>
              </c:layout>
              <c:tx>
                <c:rich>
                  <a:bodyPr/>
                  <a:lstStyle/>
                  <a:p>
                    <a:fld id="{A5582206-84E3-4B94-BC8B-2ACEA02058B8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C96A-4C63-B0C2-DB787DE480DC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B6BD98F1-CB34-43CC-87C4-E586E87E7060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B263-4DB8-8FC7-5C9CF91BA03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Non-Ad</c:v>
                </c:pt>
                <c:pt idx="1">
                  <c:v>Tweets</c:v>
                </c:pt>
                <c:pt idx="2">
                  <c:v>Purchase Intent</c:v>
                </c:pt>
                <c:pt idx="3">
                  <c:v>Instore ID POS</c:v>
                </c:pt>
                <c:pt idx="4">
                  <c:v>Instore Sales Demo</c:v>
                </c:pt>
                <c:pt idx="5">
                  <c:v>Instore Rental Demo</c:v>
                </c:pt>
                <c:pt idx="6">
                  <c:v>Website PV</c:v>
                </c:pt>
                <c:pt idx="7">
                  <c:v>Temperature</c:v>
                </c:pt>
                <c:pt idx="8">
                  <c:v>Cumulative Machine Counts</c:v>
                </c:pt>
                <c:pt idx="9">
                  <c:v>Holiday</c:v>
                </c:pt>
                <c:pt idx="10">
                  <c:v>New Year</c:v>
                </c:pt>
                <c:pt idx="11">
                  <c:v>Covid</c:v>
                </c:pt>
                <c:pt idx="12">
                  <c:v>Base trend</c:v>
                </c:pt>
                <c:pt idx="13">
                  <c:v>Other Base</c:v>
                </c:pt>
              </c:strCache>
            </c:strRef>
          </c:cat>
          <c:val>
            <c:numRef>
              <c:f>Sheet1!$B$2:$B$15</c:f>
              <c:numCache>
                <c:formatCode>0.0%</c:formatCode>
                <c:ptCount val="14"/>
                <c:pt idx="0">
                  <c:v>-0.15075539880283478</c:v>
                </c:pt>
                <c:pt idx="1">
                  <c:v>-1.1222817230442457E-3</c:v>
                </c:pt>
                <c:pt idx="2">
                  <c:v>2.1037673401931068E-2</c:v>
                </c:pt>
                <c:pt idx="3">
                  <c:v>-2.7746256363734966E-2</c:v>
                </c:pt>
                <c:pt idx="4">
                  <c:v>-1.5926755001180463E-2</c:v>
                </c:pt>
                <c:pt idx="5">
                  <c:v>-1.0651386542719899E-3</c:v>
                </c:pt>
                <c:pt idx="6">
                  <c:v>-1.885736735217932E-2</c:v>
                </c:pt>
                <c:pt idx="7">
                  <c:v>2.1542676458284751E-5</c:v>
                </c:pt>
                <c:pt idx="8">
                  <c:v>-5.4847024676571874E-3</c:v>
                </c:pt>
                <c:pt idx="9">
                  <c:v>-3.7817750110023867E-3</c:v>
                </c:pt>
                <c:pt idx="10">
                  <c:v>-1.7648232850488155E-2</c:v>
                </c:pt>
                <c:pt idx="11">
                  <c:v>-3.8756258984711078E-2</c:v>
                </c:pt>
                <c:pt idx="12">
                  <c:v>-4.637747614758473E-2</c:v>
                </c:pt>
                <c:pt idx="13">
                  <c:v>4.95648300876414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6A-4C63-B0C2-DB787DE480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ax val="5.000000000000001E-2"/>
          <c:min val="-0.30000000000000004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433420986181072"/>
          <c:y val="0.11560144229769337"/>
          <c:w val="0.63681259541321378"/>
          <c:h val="0.833606814142613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ar 2 vs Year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4E-424A-B88D-8530D6C4A85F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4E-424A-B88D-8530D6C4A85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34E-424A-B88D-8530D6C4A8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34E-424A-B88D-8530D6C4A85F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34E-424A-B88D-8530D6C4A85F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934E-424A-B88D-8530D6C4A8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934E-424A-B88D-8530D6C4A8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4E-424A-B88D-8530D6C4A85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4E-424A-B88D-8530D6C4A85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4E-424A-B88D-8530D6C4A85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934E-424A-B88D-8530D6C4A85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934E-424A-B88D-8530D6C4A85F}"/>
              </c:ext>
            </c:extLst>
          </c:dPt>
          <c:dLbls>
            <c:dLbl>
              <c:idx val="0"/>
              <c:layout>
                <c:manualLayout>
                  <c:x val="-1.0266330437608398E-2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198D6D-68F2-4762-A00F-60EFB22C7E4E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34E-424A-B88D-8530D6C4A85F}"/>
                </c:ext>
              </c:extLst>
            </c:dLbl>
            <c:dLbl>
              <c:idx val="1"/>
              <c:layout>
                <c:manualLayout>
                  <c:x val="-5.2962865733090364E-3"/>
                  <c:y val="-2.7228010952954655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4E-424A-B88D-8530D6C4A85F}"/>
                </c:ext>
              </c:extLst>
            </c:dLbl>
            <c:dLbl>
              <c:idx val="2"/>
              <c:layout>
                <c:manualLayout>
                  <c:x val="5.1331652188041045E-3"/>
                  <c:y val="2.1441066981096283E-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A057944-6DD1-492B-BDD3-1D40EDD5CD42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34E-424A-B88D-8530D6C4A85F}"/>
                </c:ext>
              </c:extLst>
            </c:dLbl>
            <c:dLbl>
              <c:idx val="4"/>
              <c:layout>
                <c:manualLayout>
                  <c:x val="-0.10315268756308899"/>
                  <c:y val="5.447103065279308E-3"/>
                </c:manualLayout>
              </c:layout>
              <c:tx>
                <c:rich>
                  <a:bodyPr/>
                  <a:lstStyle/>
                  <a:p>
                    <a:fld id="{4EC77C0E-B18A-4EC5-ACAD-D7DE28A7CB7E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34E-424A-B88D-8530D6C4A85F}"/>
                </c:ext>
              </c:extLst>
            </c:dLbl>
            <c:dLbl>
              <c:idx val="5"/>
              <c:layout>
                <c:manualLayout>
                  <c:x val="-5.0516982209272967E-3"/>
                  <c:y val="5.4468886546094972E-3"/>
                </c:manualLayout>
              </c:layout>
              <c:tx>
                <c:rich>
                  <a:bodyPr/>
                  <a:lstStyle/>
                  <a:p>
                    <a:fld id="{3B34BE04-3078-4101-A383-4162A9C2041D}" type="VALUE">
                      <a:rPr lang="en-US">
                        <a:solidFill>
                          <a:srgbClr val="00B05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934E-424A-B88D-8530D6C4A85F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47BCF12-17E1-4A71-AB4D-746295504370}" type="VALUE">
                      <a:rPr lang="en-US" sz="1100">
                        <a:solidFill>
                          <a:srgbClr val="FF0000"/>
                        </a:solidFill>
                      </a:rPr>
                      <a:pPr>
                        <a:defRPr sz="1100" b="1" i="0" u="none" strike="noStrike" kern="1200" baseline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34E-424A-B88D-8530D6C4A85F}"/>
                </c:ext>
              </c:extLst>
            </c:dLbl>
            <c:dLbl>
              <c:idx val="7"/>
              <c:layout>
                <c:manualLayout>
                  <c:x val="-9.2685015032904841E-2"/>
                  <c:y val="-2.723015505965226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34E-424A-B88D-8530D6C4A85F}"/>
                </c:ext>
              </c:extLst>
            </c:dLbl>
            <c:dLbl>
              <c:idx val="9"/>
              <c:layout>
                <c:manualLayout>
                  <c:x val="1.3322662914504799E-2"/>
                  <c:y val="8.170332981914245E-3"/>
                </c:manualLayout>
              </c:layout>
              <c:tx>
                <c:rich>
                  <a:bodyPr/>
                  <a:lstStyle/>
                  <a:p>
                    <a:fld id="{A3988D7F-F4FF-4FAD-8233-ED995B431C48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934E-424A-B88D-8530D6C4A85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Non- Ad</c:v>
                </c:pt>
                <c:pt idx="1">
                  <c:v>Tweets</c:v>
                </c:pt>
                <c:pt idx="2">
                  <c:v>Purchase Intent</c:v>
                </c:pt>
                <c:pt idx="3">
                  <c:v>Instore ID POS</c:v>
                </c:pt>
                <c:pt idx="4">
                  <c:v>Instore Sales Demo</c:v>
                </c:pt>
                <c:pt idx="5">
                  <c:v>Instore Rental Demo</c:v>
                </c:pt>
                <c:pt idx="6">
                  <c:v>Website PV</c:v>
                </c:pt>
                <c:pt idx="7">
                  <c:v>Temperature</c:v>
                </c:pt>
                <c:pt idx="8">
                  <c:v>Cumulative Machine Counts</c:v>
                </c:pt>
                <c:pt idx="9">
                  <c:v>Holiday</c:v>
                </c:pt>
                <c:pt idx="10">
                  <c:v>New Year</c:v>
                </c:pt>
                <c:pt idx="11">
                  <c:v>Covid</c:v>
                </c:pt>
                <c:pt idx="12">
                  <c:v>Base trend</c:v>
                </c:pt>
                <c:pt idx="13">
                  <c:v>Other Base</c:v>
                </c:pt>
              </c:strCache>
            </c:strRef>
          </c:cat>
          <c:val>
            <c:numRef>
              <c:f>Sheet1!$B$2:$B$15</c:f>
              <c:numCache>
                <c:formatCode>0.0%</c:formatCode>
                <c:ptCount val="14"/>
                <c:pt idx="0">
                  <c:v>-0.22980305529710335</c:v>
                </c:pt>
                <c:pt idx="1">
                  <c:v>2.261764670067432E-3</c:v>
                </c:pt>
                <c:pt idx="2">
                  <c:v>-8.8543555782742717E-3</c:v>
                </c:pt>
                <c:pt idx="3">
                  <c:v>-1.8637880875333749E-2</c:v>
                </c:pt>
                <c:pt idx="4">
                  <c:v>2.4201595664061649E-2</c:v>
                </c:pt>
                <c:pt idx="5">
                  <c:v>9.8007893989556535E-4</c:v>
                </c:pt>
                <c:pt idx="6">
                  <c:v>-3.4554035645915866E-2</c:v>
                </c:pt>
                <c:pt idx="7">
                  <c:v>2.0400531672917414E-5</c:v>
                </c:pt>
                <c:pt idx="8">
                  <c:v>-3.2943324543168949E-3</c:v>
                </c:pt>
                <c:pt idx="9">
                  <c:v>-8.8603753983387632E-3</c:v>
                </c:pt>
                <c:pt idx="10">
                  <c:v>-5.0894553758108585E-2</c:v>
                </c:pt>
                <c:pt idx="11">
                  <c:v>-2.3737159764581638E-2</c:v>
                </c:pt>
                <c:pt idx="12">
                  <c:v>-5.2702367472522701E-2</c:v>
                </c:pt>
                <c:pt idx="13">
                  <c:v>-5.57318341554083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34E-424A-B88D-8530D6C4A8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-485630704"/>
        <c:axId val="-485625808"/>
      </c:barChart>
      <c:catAx>
        <c:axId val="-485630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85625808"/>
        <c:crosses val="autoZero"/>
        <c:auto val="1"/>
        <c:lblAlgn val="ctr"/>
        <c:lblOffset val="250"/>
        <c:noMultiLvlLbl val="0"/>
      </c:catAx>
      <c:valAx>
        <c:axId val="-485625808"/>
        <c:scaling>
          <c:orientation val="minMax"/>
          <c:min val="-0.30000000000000004"/>
        </c:scaling>
        <c:delete val="1"/>
        <c:axPos val="t"/>
        <c:numFmt formatCode="0.0%" sourceLinked="1"/>
        <c:majorTickMark val="out"/>
        <c:minorTickMark val="none"/>
        <c:tickLblPos val="nextTo"/>
        <c:crossAx val="-48563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68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Incremental Sales</a:t>
            </a:r>
            <a:endParaRPr lang="en-GB" b="1" dirty="0"/>
          </a:p>
        </c:rich>
      </c:tx>
      <c:layout>
        <c:manualLayout>
          <c:xMode val="edge"/>
          <c:yMode val="edge"/>
          <c:x val="0.43222569298258912"/>
          <c:y val="5.221506255741514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2860419706287162E-2"/>
          <c:y val="0.28934590182125469"/>
          <c:w val="0.9742791605874257"/>
          <c:h val="0.458538796801647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atic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2:$D$2</c:f>
              <c:numCache>
                <c:formatCode>_ * #,##0_ ;_ * \-#,##0_ ;_ * "-"??_ ;_ @_ </c:formatCode>
                <c:ptCount val="3"/>
                <c:pt idx="0">
                  <c:v>5354.6298201</c:v>
                </c:pt>
                <c:pt idx="1">
                  <c:v>12225.312656499998</c:v>
                </c:pt>
                <c:pt idx="2">
                  <c:v>10320.1803945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E6-4683-BC9E-9FAC349F606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.10334635707651466"/>
                  <c:y val="4.0952860582919019E-2"/>
                </c:manualLayout>
              </c:layout>
              <c:tx>
                <c:rich>
                  <a:bodyPr/>
                  <a:lstStyle/>
                  <a:p>
                    <a:fld id="{34E4443A-3D57-4A6D-B843-96D7D7D32CBB}" type="VALUE">
                      <a:rPr lang="en-US">
                        <a:solidFill>
                          <a:schemeClr val="accent2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  <c:pt idx="0" formatCode="_ * #,##0_ ;_ * \-#,##0_ ;_ * &quot;-&quot;??_ ;_ @_ ">
                  <c:v>98.884723900000012</c:v>
                </c:pt>
                <c:pt idx="2" formatCode="_ * #,##0_ ;_ * \-#,##0_ ;_ * &quot;-&quot;??_ ;_ @_ ">
                  <c:v>2643.3505711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E6-4683-BC9E-9FAC349F606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YSS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0.1033463570765146"/>
                  <c:y val="4.8179835979903956E-3"/>
                </c:manualLayout>
              </c:layout>
              <c:tx>
                <c:rich>
                  <a:bodyPr/>
                  <a:lstStyle/>
                  <a:p>
                    <a:fld id="{F514F432-5A3D-4B71-AA9E-1B4B56DCF6E4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1.204495899497612E-2"/>
                </c:manualLayout>
              </c:layout>
              <c:tx>
                <c:rich>
                  <a:bodyPr/>
                  <a:lstStyle/>
                  <a:p>
                    <a:fld id="{DAA6A3D1-72B2-402B-926A-0AC81B416923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E725-4191-9435-1F3450A0B577}"/>
                </c:ext>
              </c:extLst>
            </c:dLbl>
            <c:dLbl>
              <c:idx val="2"/>
              <c:layout>
                <c:manualLayout>
                  <c:x val="9.6887209759232484E-2"/>
                  <c:y val="5.5406811376890561E-2"/>
                </c:manualLayout>
              </c:layout>
              <c:tx>
                <c:rich>
                  <a:bodyPr/>
                  <a:lstStyle/>
                  <a:p>
                    <a:fld id="{2584B48F-B1E3-4138-A913-A05828B63F27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4:$D$4</c:f>
              <c:numCache>
                <c:formatCode>_ * #,##0_ ;_ * \-#,##0_ ;_ * "-"??_ ;_ @_ </c:formatCode>
                <c:ptCount val="3"/>
                <c:pt idx="0">
                  <c:v>519.77734570000018</c:v>
                </c:pt>
                <c:pt idx="1">
                  <c:v>358.41303660000011</c:v>
                </c:pt>
                <c:pt idx="2">
                  <c:v>70.578004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E6-4683-BC9E-9FAC349F6063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GAW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1033463570765146"/>
                  <c:y val="-3.613487698492862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-1.927193439196197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725-4191-9435-1F3450A0B577}"/>
                </c:ext>
              </c:extLst>
            </c:dLbl>
            <c:dLbl>
              <c:idx val="2"/>
              <c:layout>
                <c:manualLayout>
                  <c:x val="9.559538029577605E-2"/>
                  <c:y val="9.635967195980966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5:$D$5</c:f>
              <c:numCache>
                <c:formatCode>_ * #,##0_ ;_ * \-#,##0_ ;_ * "-"??_ ;_ @_ </c:formatCode>
                <c:ptCount val="3"/>
                <c:pt idx="0">
                  <c:v>268.09292940000006</c:v>
                </c:pt>
                <c:pt idx="1">
                  <c:v>283.33235049999985</c:v>
                </c:pt>
                <c:pt idx="2">
                  <c:v>63.8131432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25-4191-9435-1F3450A0B57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AFF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fld id="{5F4C7F54-A5B6-4F8A-9376-00B29E62D186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725-4191-9435-1F3450A0B577}"/>
                </c:ext>
              </c:extLst>
            </c:dLbl>
            <c:dLbl>
              <c:idx val="1"/>
              <c:layout>
                <c:manualLayout>
                  <c:x val="9.9470868686145353E-2"/>
                  <c:y val="-5.0588827778900121E-2"/>
                </c:manualLayout>
              </c:layout>
              <c:tx>
                <c:rich>
                  <a:bodyPr/>
                  <a:lstStyle/>
                  <a:p>
                    <a:fld id="{C9047BBC-5035-4FD6-815F-3D0C89F9E40B}" type="VALUE">
                      <a:rPr lang="en-US">
                        <a:solidFill>
                          <a:schemeClr val="accent5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725-4191-9435-1F3450A0B577}"/>
                </c:ext>
              </c:extLst>
            </c:dLbl>
            <c:dLbl>
              <c:idx val="2"/>
              <c:layout>
                <c:manualLayout>
                  <c:x val="9.3011721368863182E-2"/>
                  <c:y val="-2.4089917989952463E-2"/>
                </c:manualLayout>
              </c:layout>
              <c:tx>
                <c:rich>
                  <a:bodyPr/>
                  <a:lstStyle/>
                  <a:p>
                    <a:fld id="{408375EC-CA7D-4159-B5B7-957176039108}" type="VALUE">
                      <a:rPr lang="en-US">
                        <a:solidFill>
                          <a:schemeClr val="accent5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6:$D$6</c:f>
              <c:numCache>
                <c:formatCode>_ * #,##0_ ;_ * \-#,##0_ ;_ * "-"??_ ;_ @_ </c:formatCode>
                <c:ptCount val="3"/>
                <c:pt idx="0">
                  <c:v>1861.0590161000005</c:v>
                </c:pt>
                <c:pt idx="1">
                  <c:v>486.07357500000006</c:v>
                </c:pt>
                <c:pt idx="2">
                  <c:v>182.3167663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25-4191-9435-1F3450A0B577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TV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9.3011721368863182E-2"/>
                  <c:y val="-6.0224794974881042E-2"/>
                </c:manualLayout>
              </c:layout>
              <c:tx>
                <c:rich>
                  <a:bodyPr/>
                  <a:lstStyle/>
                  <a:p>
                    <a:fld id="{439B8D97-7FD5-4975-897C-F2BF32F4AECD}" type="VALUE">
                      <a:rPr lang="en-US">
                        <a:solidFill>
                          <a:schemeClr val="accent6"/>
                        </a:solidFill>
                      </a:rPr>
                      <a:pPr/>
                      <a:t>[VALUE]</a:t>
                    </a:fld>
                    <a:endParaRPr lang="en-IN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725-4191-9435-1F3450A0B577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strCache>
            </c:strRef>
          </c:cat>
          <c:val>
            <c:numRef>
              <c:f>Sheet1!$B$7:$D$7</c:f>
              <c:numCache>
                <c:formatCode>General</c:formatCode>
                <c:ptCount val="3"/>
                <c:pt idx="2" formatCode="_ * #,##0_ ;_ * \-#,##0_ ;_ * &quot;-&quot;??_ ;_ @_ ">
                  <c:v>132.8428701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25-4191-9435-1F3450A0B57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8870016"/>
        <c:axId val="118871552"/>
      </c:barChart>
      <c:catAx>
        <c:axId val="118870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4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1552"/>
        <c:crosses val="autoZero"/>
        <c:auto val="1"/>
        <c:lblAlgn val="ctr"/>
        <c:lblOffset val="100"/>
        <c:noMultiLvlLbl val="0"/>
      </c:catAx>
      <c:valAx>
        <c:axId val="118871552"/>
        <c:scaling>
          <c:orientation val="minMax"/>
        </c:scaling>
        <c:delete val="1"/>
        <c:axPos val="l"/>
        <c:numFmt formatCode="_ * #,##0_ ;_ * \-#,##0_ ;_ * &quot;-&quot;??_ ;_ @_ " sourceLinked="1"/>
        <c:majorTickMark val="out"/>
        <c:minorTickMark val="none"/>
        <c:tickLblPos val="nextTo"/>
        <c:crossAx val="118870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108692089802695"/>
          <c:y val="0.94478837386414616"/>
          <c:w val="0.37455232260257049"/>
          <c:h val="5.19304957653071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4.8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8.9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11.6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8,128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3,353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3,413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81629</cdr:x>
      <cdr:y>0.5</cdr:y>
    </cdr:from>
    <cdr:to>
      <cdr:x>0.90811</cdr:x>
      <cdr:y>0.57315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8655113" y="226795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594</cdr:x>
      <cdr:y>0.44409</cdr:y>
    </cdr:from>
    <cdr:to>
      <cdr:x>0.87363</cdr:x>
      <cdr:y>0.49398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112313" y="2014358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8594</cdr:x>
      <cdr:y>0.45743</cdr:y>
    </cdr:from>
    <cdr:to>
      <cdr:x>0.95122</cdr:x>
      <cdr:y>0.5305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12313" y="2074835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7398</cdr:x>
      <cdr:y>0.40754</cdr:y>
    </cdr:from>
    <cdr:to>
      <cdr:x>0.88821</cdr:x>
      <cdr:y>0.45743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266905" y="1848539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8594</cdr:x>
      <cdr:y>0.45743</cdr:y>
    </cdr:from>
    <cdr:to>
      <cdr:x>0.95122</cdr:x>
      <cdr:y>0.5305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112313" y="2074835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90252</cdr:x>
      <cdr:y>0.41233</cdr:y>
    </cdr:from>
    <cdr:to>
      <cdr:x>0.91675</cdr:x>
      <cdr:y>0.46222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569513" y="1870310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88874</cdr:x>
      <cdr:y>0.50201</cdr:y>
    </cdr:from>
    <cdr:to>
      <cdr:x>0.98056</cdr:x>
      <cdr:y>0.57516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423315" y="2277049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92408</cdr:x>
      <cdr:y>0.45011</cdr:y>
    </cdr:from>
    <cdr:to>
      <cdr:x>0.93831</cdr:x>
      <cdr:y>0.5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798113" y="2041654"/>
          <a:ext cx="150882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82347</cdr:x>
      <cdr:y>0.54673</cdr:y>
    </cdr:from>
    <cdr:to>
      <cdr:x>0.91529</cdr:x>
      <cdr:y>0.6198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8731313" y="2479910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3066</cdr:x>
      <cdr:y>0.5</cdr:y>
    </cdr:from>
    <cdr:to>
      <cdr:x>0.8592</cdr:x>
      <cdr:y>0.54673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8807513" y="2267950"/>
          <a:ext cx="302629" cy="211963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3.1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8.1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8.9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5,355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2,225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0,320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0.1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2.3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99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2,643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4475</cdr:x>
      <cdr:y>0.04706</cdr:y>
    </cdr:from>
    <cdr:to>
      <cdr:x>0.12422</cdr:x>
      <cdr:y>0.122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A4DA71B-166E-4264-B8AE-4C6A912DE54F}"/>
            </a:ext>
          </a:extLst>
        </cdr:cNvPr>
        <cdr:cNvSpPr txBox="1"/>
      </cdr:nvSpPr>
      <cdr:spPr>
        <a:xfrm xmlns:a="http://schemas.openxmlformats.org/drawingml/2006/main">
          <a:off x="514909" y="22860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95.2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0317</cdr:x>
      <cdr:y>0.04046</cdr:y>
    </cdr:from>
    <cdr:to>
      <cdr:x>0.28264</cdr:x>
      <cdr:y>0.1163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2337741" y="196529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91.1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36449</cdr:x>
      <cdr:y>0.04095</cdr:y>
    </cdr:from>
    <cdr:to>
      <cdr:x>0.44396</cdr:x>
      <cdr:y>0.11624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4EA8CEF4-01C1-469F-B391-5CDD9B41B817}"/>
            </a:ext>
          </a:extLst>
        </cdr:cNvPr>
        <cdr:cNvSpPr txBox="1"/>
      </cdr:nvSpPr>
      <cdr:spPr>
        <a:xfrm xmlns:a="http://schemas.openxmlformats.org/drawingml/2006/main">
          <a:off x="4193858" y="198904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88.4%</a:t>
          </a:r>
          <a:endParaRPr lang="en-GB" sz="140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298</cdr:x>
      <cdr:y>0.02745</cdr:y>
    </cdr:from>
    <cdr:to>
      <cdr:x>0.64245</cdr:x>
      <cdr:y>0.10275</cdr:y>
    </cdr:to>
    <cdr:sp macro="" textlink="">
      <cdr:nvSpPr>
        <cdr:cNvPr id="11" name="TextBox 1">
          <a:extLst xmlns:a="http://schemas.openxmlformats.org/drawingml/2006/main">
            <a:ext uri="{FF2B5EF4-FFF2-40B4-BE49-F238E27FC236}">
              <a16:creationId xmlns:a16="http://schemas.microsoft.com/office/drawing/2014/main" id="{FF542D68-18D5-4742-A65D-39A3469FEA3E}"/>
            </a:ext>
          </a:extLst>
        </cdr:cNvPr>
        <cdr:cNvSpPr txBox="1"/>
      </cdr:nvSpPr>
      <cdr:spPr>
        <a:xfrm xmlns:a="http://schemas.openxmlformats.org/drawingml/2006/main">
          <a:off x="6477792" y="133351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62,687</a:t>
          </a:r>
        </a:p>
      </cdr:txBody>
    </cdr:sp>
  </cdr:relSizeAnchor>
  <cdr:relSizeAnchor xmlns:cdr="http://schemas.openxmlformats.org/drawingml/2006/chartDrawing">
    <cdr:from>
      <cdr:x>0.7245</cdr:x>
      <cdr:y>0.02636</cdr:y>
    </cdr:from>
    <cdr:to>
      <cdr:x>0.80397</cdr:x>
      <cdr:y>0.10225</cdr:y>
    </cdr:to>
    <cdr:sp macro="" textlink="">
      <cdr:nvSpPr>
        <cdr:cNvPr id="12" name="TextBox 1">
          <a:extLst xmlns:a="http://schemas.openxmlformats.org/drawingml/2006/main">
            <a:ext uri="{FF2B5EF4-FFF2-40B4-BE49-F238E27FC236}">
              <a16:creationId xmlns:a16="http://schemas.microsoft.com/office/drawing/2014/main" id="{1E65FE53-205E-46CE-B506-3167CB58F964}"/>
            </a:ext>
          </a:extLst>
        </cdr:cNvPr>
        <cdr:cNvSpPr txBox="1"/>
      </cdr:nvSpPr>
      <cdr:spPr>
        <a:xfrm xmlns:a="http://schemas.openxmlformats.org/drawingml/2006/main">
          <a:off x="8336187" y="128050"/>
          <a:ext cx="914400" cy="368661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36,962</a:t>
          </a:r>
        </a:p>
      </cdr:txBody>
    </cdr:sp>
  </cdr:relSizeAnchor>
  <cdr:relSizeAnchor xmlns:cdr="http://schemas.openxmlformats.org/drawingml/2006/chartDrawing">
    <cdr:from>
      <cdr:x>0.8733</cdr:x>
      <cdr:y>0.01882</cdr:y>
    </cdr:from>
    <cdr:to>
      <cdr:x>0.95277</cdr:x>
      <cdr:y>0.09412</cdr:y>
    </cdr:to>
    <cdr:sp macro="" textlink="">
      <cdr:nvSpPr>
        <cdr:cNvPr id="13" name="TextBox 1">
          <a:extLst xmlns:a="http://schemas.openxmlformats.org/drawingml/2006/main">
            <a:ext uri="{FF2B5EF4-FFF2-40B4-BE49-F238E27FC236}">
              <a16:creationId xmlns:a16="http://schemas.microsoft.com/office/drawing/2014/main" id="{233115DE-6B69-4B71-8589-19C7CDF13D3E}"/>
            </a:ext>
          </a:extLst>
        </cdr:cNvPr>
        <cdr:cNvSpPr txBox="1"/>
      </cdr:nvSpPr>
      <cdr:spPr>
        <a:xfrm xmlns:a="http://schemas.openxmlformats.org/drawingml/2006/main">
          <a:off x="10048366" y="91440"/>
          <a:ext cx="914400" cy="365760"/>
        </a:xfrm>
        <a:prstGeom xmlns:a="http://schemas.openxmlformats.org/drawingml/2006/main" prst="rect">
          <a:avLst/>
        </a:prstGeom>
        <a:ln xmlns:a="http://schemas.openxmlformats.org/drawingml/2006/main" w="19050">
          <a:solidFill>
            <a:schemeClr val="tx1"/>
          </a:solidFill>
          <a:prstDash val="dash"/>
        </a:ln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en-GB" sz="1400" b="1" dirty="0">
              <a:latin typeface="Calibri" panose="020F0502020204030204" pitchFamily="34" charset="0"/>
              <a:cs typeface="Calibri" panose="020F0502020204030204" pitchFamily="34" charset="0"/>
            </a:rPr>
            <a:t>102,419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6805</cdr:x>
      <cdr:y>0.27467</cdr:y>
    </cdr:from>
    <cdr:to>
      <cdr:x>0.75576</cdr:x>
      <cdr:y>0.3506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221076" y="789066"/>
          <a:ext cx="245660" cy="2183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82692</cdr:x>
      <cdr:y>0.29592</cdr:y>
    </cdr:from>
    <cdr:to>
      <cdr:x>0.91874</cdr:x>
      <cdr:y>0.36907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8856657" y="1355853"/>
          <a:ext cx="983490" cy="33518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8415</cdr:x>
      <cdr:y>0.24603</cdr:y>
    </cdr:from>
    <cdr:to>
      <cdr:x>0.85573</cdr:x>
      <cdr:y>0.29592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012842" y="1127253"/>
          <a:ext cx="152400" cy="228600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8874</cdr:x>
      <cdr:y>0.37576</cdr:y>
    </cdr:from>
    <cdr:to>
      <cdr:x>0.98056</cdr:x>
      <cdr:y>0.44891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EF0907B-C6BB-4A60-935D-BA98857621FB}"/>
            </a:ext>
          </a:extLst>
        </cdr:cNvPr>
        <cdr:cNvSpPr/>
      </cdr:nvSpPr>
      <cdr:spPr>
        <a:xfrm xmlns:a="http://schemas.openxmlformats.org/drawingml/2006/main">
          <a:off x="9423315" y="1704409"/>
          <a:ext cx="973572" cy="33180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440" b="1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en-US" sz="1600" b="1" dirty="0">
              <a:solidFill>
                <a:schemeClr val="accent6">
                  <a:lumMod val="75000"/>
                </a:schemeClr>
              </a:solidFill>
            </a:rPr>
            <a:t>Efficiency</a:t>
          </a:r>
        </a:p>
      </cdr:txBody>
    </cdr:sp>
  </cdr:relSizeAnchor>
  <cdr:relSizeAnchor xmlns:cdr="http://schemas.openxmlformats.org/drawingml/2006/chartDrawing">
    <cdr:from>
      <cdr:x>0.90971</cdr:x>
      <cdr:y>0.32834</cdr:y>
    </cdr:from>
    <cdr:to>
      <cdr:x>0.92394</cdr:x>
      <cdr:y>0.37823</cdr:y>
    </cdr:to>
    <cdr:cxnSp macro="">
      <cdr:nvCxnSpPr>
        <cdr:cNvPr id="4" name="直線矢印コネクタ 20">
          <a:extLst xmlns:a="http://schemas.openxmlformats.org/drawingml/2006/main">
            <a:ext uri="{FF2B5EF4-FFF2-40B4-BE49-F238E27FC236}">
              <a16:creationId xmlns:a16="http://schemas.microsoft.com/office/drawing/2014/main" id="{3CFD90BD-30D6-47D8-9EA9-10ECB80C9B63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H="1" flipV="1">
          <a:off x="9645713" y="1489310"/>
          <a:ext cx="150881" cy="226296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accent6">
              <a:lumMod val="75000"/>
            </a:schemeClr>
          </a:solidFill>
          <a:tailEnd type="stealth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93D5B6F-AE06-4CDB-8680-AE5F8FDCF9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C63B02-48B4-433F-BA06-ECB587B5899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51952F-490C-4728-9FE1-5800A431243E}" type="datetimeFigureOut">
              <a:rPr lang="en-IN" smtClean="0"/>
              <a:t>20-05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96379B-91B5-4674-9DB9-FBB8F12263C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5B844A-DD43-4091-B3A9-6A535AB082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93BA4A-8650-46E2-992A-4B41E8868F5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72036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B1DD2-0DE1-48F8-9FBF-2774A195291D}" type="datetimeFigureOut">
              <a:rPr lang="en-US" smtClean="0"/>
              <a:t>05/20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685800"/>
            <a:ext cx="60325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F143B-7D66-4A66-84BD-D97BF5DF26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99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Nescafé® Dolce Gusto® kapszulás kávégépek - NESCAFÉ® Dolce Gusto®">
            <a:extLst>
              <a:ext uri="{FF2B5EF4-FFF2-40B4-BE49-F238E27FC236}">
                <a16:creationId xmlns:a16="http://schemas.microsoft.com/office/drawing/2014/main" id="{62347691-FE3C-4AA0-9660-D3C1891F81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74"/>
          <a:stretch/>
        </p:blipFill>
        <p:spPr bwMode="auto">
          <a:xfrm>
            <a:off x="-3969" y="0"/>
            <a:ext cx="1206976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E5787E6-1789-4FF3-97D4-EF0123D2ED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31" y="228600"/>
            <a:ext cx="2294882" cy="781037"/>
          </a:xfrm>
          <a:prstGeom prst="rect">
            <a:avLst/>
          </a:prstGeom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CC43D939-2813-4927-A9DE-EF31D1359F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499" y="133350"/>
            <a:ext cx="3110357" cy="1745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017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B69DDA4D-03A0-4471-82B1-F5A20C70A91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7" r="38005"/>
          <a:stretch/>
        </p:blipFill>
        <p:spPr bwMode="auto">
          <a:xfrm>
            <a:off x="-17577" y="0"/>
            <a:ext cx="1208733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74BDCE5-5F43-46C4-832B-E9FF32CE1BC0}"/>
              </a:ext>
            </a:extLst>
          </p:cNvPr>
          <p:cNvSpPr/>
          <p:nvPr userDrawn="1"/>
        </p:nvSpPr>
        <p:spPr>
          <a:xfrm>
            <a:off x="0" y="0"/>
            <a:ext cx="12069762" cy="6858000"/>
          </a:xfrm>
          <a:prstGeom prst="rect">
            <a:avLst/>
          </a:prstGeom>
          <a:solidFill>
            <a:srgbClr val="1E0A0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7F88A7-280E-432C-BA03-D37FB4BA272F}"/>
              </a:ext>
            </a:extLst>
          </p:cNvPr>
          <p:cNvSpPr txBox="1"/>
          <p:nvPr userDrawn="1"/>
        </p:nvSpPr>
        <p:spPr>
          <a:xfrm>
            <a:off x="3215482" y="2209801"/>
            <a:ext cx="5638800" cy="2438400"/>
          </a:xfrm>
          <a:prstGeom prst="rect">
            <a:avLst/>
          </a:prstGeom>
          <a:solidFill>
            <a:srgbClr val="332019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7200" b="1" i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Thank Yo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4B6D8D-DAE1-431A-8B45-7BE1BD958994}"/>
              </a:ext>
            </a:extLst>
          </p:cNvPr>
          <p:cNvSpPr/>
          <p:nvPr userDrawn="1"/>
        </p:nvSpPr>
        <p:spPr>
          <a:xfrm>
            <a:off x="3215482" y="2209800"/>
            <a:ext cx="5638800" cy="2438400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2485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rgbClr val="F4DE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3">
            <a:extLst>
              <a:ext uri="{FF2B5EF4-FFF2-40B4-BE49-F238E27FC236}">
                <a16:creationId xmlns:a16="http://schemas.microsoft.com/office/drawing/2014/main" id="{1705B63C-6E7F-40E3-8455-87B7C703482D}"/>
              </a:ext>
            </a:extLst>
          </p:cNvPr>
          <p:cNvSpPr/>
          <p:nvPr userDrawn="1"/>
        </p:nvSpPr>
        <p:spPr>
          <a:xfrm flipH="1" flipV="1">
            <a:off x="4663281" y="0"/>
            <a:ext cx="725408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460929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168895 w 5638800"/>
              <a:gd name="connsiteY2" fmla="*/ 48006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8800" h="6858000">
                <a:moveTo>
                  <a:pt x="0" y="0"/>
                </a:moveTo>
                <a:lnTo>
                  <a:pt x="5638800" y="0"/>
                </a:lnTo>
                <a:lnTo>
                  <a:pt x="4168895" y="48006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864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B45B5ED7-9B4D-4CCE-A272-4B8A6961086A}"/>
              </a:ext>
            </a:extLst>
          </p:cNvPr>
          <p:cNvSpPr/>
          <p:nvPr userDrawn="1"/>
        </p:nvSpPr>
        <p:spPr>
          <a:xfrm flipH="1" flipV="1">
            <a:off x="5272881" y="0"/>
            <a:ext cx="6796882" cy="6858000"/>
          </a:xfrm>
          <a:custGeom>
            <a:avLst/>
            <a:gdLst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5638800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  <a:gd name="connsiteX0" fmla="*/ 0 w 5638800"/>
              <a:gd name="connsiteY0" fmla="*/ 0 h 6858000"/>
              <a:gd name="connsiteX1" fmla="*/ 5638800 w 5638800"/>
              <a:gd name="connsiteY1" fmla="*/ 0 h 6858000"/>
              <a:gd name="connsiteX2" fmla="*/ 4460929 w 5638800"/>
              <a:gd name="connsiteY2" fmla="*/ 6858000 h 6858000"/>
              <a:gd name="connsiteX3" fmla="*/ 0 w 5638800"/>
              <a:gd name="connsiteY3" fmla="*/ 6858000 h 6858000"/>
              <a:gd name="connsiteX4" fmla="*/ 0 w 56388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38800" h="6858000">
                <a:moveTo>
                  <a:pt x="0" y="0"/>
                </a:moveTo>
                <a:lnTo>
                  <a:pt x="5638800" y="0"/>
                </a:lnTo>
                <a:lnTo>
                  <a:pt x="446092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E0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0F2C0EED-2CBD-49B5-AA3B-8042554500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6919" y="190500"/>
            <a:ext cx="6477000" cy="64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6232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36655C7B-8BA0-4F8B-93EB-A94E5B249855}"/>
              </a:ext>
            </a:extLst>
          </p:cNvPr>
          <p:cNvSpPr/>
          <p:nvPr userDrawn="1"/>
        </p:nvSpPr>
        <p:spPr>
          <a:xfrm>
            <a:off x="-1" y="0"/>
            <a:ext cx="12069763" cy="1100380"/>
          </a:xfrm>
          <a:prstGeom prst="rect">
            <a:avLst/>
          </a:prstGeom>
          <a:solidFill>
            <a:srgbClr val="F4D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1C3D8C-02B6-4230-8F2C-4A9C7B3F7F33}"/>
              </a:ext>
            </a:extLst>
          </p:cNvPr>
          <p:cNvSpPr/>
          <p:nvPr userDrawn="1"/>
        </p:nvSpPr>
        <p:spPr>
          <a:xfrm>
            <a:off x="-1" y="6597136"/>
            <a:ext cx="12069763" cy="260864"/>
          </a:xfrm>
          <a:prstGeom prst="rect">
            <a:avLst/>
          </a:prstGeom>
          <a:solidFill>
            <a:srgbClr val="F4DE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00" b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5655" y="6602668"/>
            <a:ext cx="576072" cy="365125"/>
          </a:xfrm>
          <a:prstGeom prst="rect">
            <a:avLst/>
          </a:prstGeom>
        </p:spPr>
        <p:txBody>
          <a:bodyPr/>
          <a:lstStyle>
            <a:lvl1pPr>
              <a:defRPr lang="en-US" sz="1000" b="0" smtClean="0">
                <a:solidFill>
                  <a:schemeClr val="accent1"/>
                </a:solidFill>
              </a:defRPr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084881" y="164815"/>
            <a:ext cx="9922976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772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5069" y="6602668"/>
            <a:ext cx="2532888" cy="365125"/>
          </a:xfrm>
          <a:prstGeom prst="rect">
            <a:avLst/>
          </a:prstGeom>
        </p:spPr>
        <p:txBody>
          <a:bodyPr/>
          <a:lstStyle>
            <a:lvl1pPr>
              <a:defRPr lang="en-US" sz="1000" b="0" smtClean="0">
                <a:solidFill>
                  <a:schemeClr val="accent1"/>
                </a:solidFill>
              </a:defRPr>
            </a:lvl1pPr>
          </a:lstStyle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A7631B4-031E-4E9C-904A-FDAA77D8772D}"/>
              </a:ext>
            </a:extLst>
          </p:cNvPr>
          <p:cNvGrpSpPr/>
          <p:nvPr userDrawn="1"/>
        </p:nvGrpSpPr>
        <p:grpSpPr>
          <a:xfrm>
            <a:off x="10974185" y="137747"/>
            <a:ext cx="1076287" cy="883335"/>
            <a:chOff x="10977375" y="137745"/>
            <a:chExt cx="1166440" cy="957326"/>
          </a:xfrm>
        </p:grpSpPr>
        <p:pic>
          <p:nvPicPr>
            <p:cNvPr id="18" name="Picture 2" descr="\\SONY\Users\Nivas\Desktop\analytic-edge\logo.png">
              <a:extLst>
                <a:ext uri="{FF2B5EF4-FFF2-40B4-BE49-F238E27FC236}">
                  <a16:creationId xmlns:a16="http://schemas.microsoft.com/office/drawing/2014/main" id="{BCF27C50-DEA2-424A-9413-590FF176E7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A520A3F-0138-4D2A-A1D1-EB55C3757CD1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A93A369D-10FE-4FAB-94CC-569AF6E4219F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782" dirty="0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EBF839C-7FE3-46CA-9753-1B1FCC7AB3AA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33" name="Freeform 10">
                  <a:extLst>
                    <a:ext uri="{FF2B5EF4-FFF2-40B4-BE49-F238E27FC236}">
                      <a16:creationId xmlns:a16="http://schemas.microsoft.com/office/drawing/2014/main" id="{68752C36-A713-47D5-925E-B6CB77B4D208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82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Freeform 11">
                  <a:extLst>
                    <a:ext uri="{FF2B5EF4-FFF2-40B4-BE49-F238E27FC236}">
                      <a16:creationId xmlns:a16="http://schemas.microsoft.com/office/drawing/2014/main" id="{E2B0347B-1377-48B4-9FE0-6657C5DAB7E1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82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pic>
        <p:nvPicPr>
          <p:cNvPr id="17" name="Picture 2">
            <a:extLst>
              <a:ext uri="{FF2B5EF4-FFF2-40B4-BE49-F238E27FC236}">
                <a16:creationId xmlns:a16="http://schemas.microsoft.com/office/drawing/2014/main" id="{5EC9A2BD-FC7E-4A79-BB7A-69059C8910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27" y="130444"/>
            <a:ext cx="856527" cy="856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761A856-D05A-461D-AA2F-3087949CD9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4166" y="111394"/>
            <a:ext cx="251481" cy="23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911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1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156" name="Picture 12">
            <a:extLst>
              <a:ext uri="{FF2B5EF4-FFF2-40B4-BE49-F238E27FC236}">
                <a16:creationId xmlns:a16="http://schemas.microsoft.com/office/drawing/2014/main" id="{0B229576-3CAA-44EB-BD71-BC520817D9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9"/>
            <a:ext cx="3926505" cy="3396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6914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2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E23F7682-FFC9-46EB-936E-C38E84B7ED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327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3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72506F6C-4E93-41CD-A49E-98F6D45A6D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583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4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021026B7-8FA1-41A7-8C10-B0B679B9A2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88198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5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0D27B5C-4F14-476B-8268-4D672B4DF2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6938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06">
    <p:bg>
      <p:bgPr>
        <a:solidFill>
          <a:srgbClr val="1E0A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B321D13-D39C-4CC1-B4CE-93B9BE43A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9481" y="1828800"/>
            <a:ext cx="1108869" cy="10432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54D777E-6188-4468-B903-4ACA3B0FF49D}"/>
              </a:ext>
            </a:extLst>
          </p:cNvPr>
          <p:cNvSpPr/>
          <p:nvPr userDrawn="1"/>
        </p:nvSpPr>
        <p:spPr>
          <a:xfrm>
            <a:off x="495300" y="533400"/>
            <a:ext cx="6911181" cy="5867400"/>
          </a:xfrm>
          <a:custGeom>
            <a:avLst/>
            <a:gdLst>
              <a:gd name="connsiteX0" fmla="*/ 0 w 7673181"/>
              <a:gd name="connsiteY0" fmla="*/ 0 h 5867400"/>
              <a:gd name="connsiteX1" fmla="*/ 76731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7673181"/>
              <a:gd name="connsiteY0" fmla="*/ 0 h 5867400"/>
              <a:gd name="connsiteX1" fmla="*/ 6187281 w 7673181"/>
              <a:gd name="connsiteY1" fmla="*/ 0 h 5867400"/>
              <a:gd name="connsiteX2" fmla="*/ 7673181 w 7673181"/>
              <a:gd name="connsiteY2" fmla="*/ 5867400 h 5867400"/>
              <a:gd name="connsiteX3" fmla="*/ 0 w 7673181"/>
              <a:gd name="connsiteY3" fmla="*/ 5867400 h 5867400"/>
              <a:gd name="connsiteX4" fmla="*/ 0 w 7673181"/>
              <a:gd name="connsiteY4" fmla="*/ 0 h 5867400"/>
              <a:gd name="connsiteX0" fmla="*/ 0 w 6911181"/>
              <a:gd name="connsiteY0" fmla="*/ 0 h 5867400"/>
              <a:gd name="connsiteX1" fmla="*/ 6187281 w 6911181"/>
              <a:gd name="connsiteY1" fmla="*/ 0 h 5867400"/>
              <a:gd name="connsiteX2" fmla="*/ 6911181 w 6911181"/>
              <a:gd name="connsiteY2" fmla="*/ 5867400 h 5867400"/>
              <a:gd name="connsiteX3" fmla="*/ 0 w 6911181"/>
              <a:gd name="connsiteY3" fmla="*/ 5867400 h 5867400"/>
              <a:gd name="connsiteX4" fmla="*/ 0 w 6911181"/>
              <a:gd name="connsiteY4" fmla="*/ 0 h 586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11181" h="5867400">
                <a:moveTo>
                  <a:pt x="0" y="0"/>
                </a:moveTo>
                <a:lnTo>
                  <a:pt x="6187281" y="0"/>
                </a:lnTo>
                <a:lnTo>
                  <a:pt x="6911181" y="5867400"/>
                </a:lnTo>
                <a:lnTo>
                  <a:pt x="0" y="58674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E342BC1-2459-4F46-80E8-0E71E84DA1BE}"/>
              </a:ext>
            </a:extLst>
          </p:cNvPr>
          <p:cNvSpPr/>
          <p:nvPr userDrawn="1"/>
        </p:nvSpPr>
        <p:spPr>
          <a:xfrm flipH="1">
            <a:off x="6469062" y="0"/>
            <a:ext cx="1108869" cy="6858000"/>
          </a:xfrm>
          <a:prstGeom prst="parallelogram">
            <a:avLst>
              <a:gd name="adj" fmla="val 7310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C17D826-2F3D-4D83-BE54-125CC3D26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681" y="3066428"/>
            <a:ext cx="3922776" cy="3393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265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597" y="6602668"/>
            <a:ext cx="2529681" cy="365125"/>
          </a:xfrm>
          <a:prstGeom prst="rect">
            <a:avLst/>
          </a:prstGeom>
        </p:spPr>
        <p:txBody>
          <a:bodyPr/>
          <a:lstStyle>
            <a:lvl1pPr algn="ctr">
              <a:defRPr sz="792">
                <a:solidFill>
                  <a:schemeClr val="accent1"/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481" y="6602668"/>
            <a:ext cx="576004" cy="365125"/>
          </a:xfrm>
          <a:prstGeom prst="rect">
            <a:avLst/>
          </a:prstGeom>
        </p:spPr>
        <p:txBody>
          <a:bodyPr/>
          <a:lstStyle>
            <a:lvl1pPr algn="ctr">
              <a:defRPr sz="792">
                <a:solidFill>
                  <a:schemeClr val="accent1"/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68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2" r:id="rId2"/>
    <p:sldLayoutId id="2147483721" r:id="rId3"/>
    <p:sldLayoutId id="2147483722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24" r:id="rId10"/>
  </p:sldLayoutIdLst>
  <p:hf hdr="0"/>
  <p:txStyles>
    <p:titleStyle>
      <a:lvl1pPr algn="ctr" defTabSz="905256" rtl="0" eaLnBrk="1" latinLnBrk="0" hangingPunct="1">
        <a:spcBef>
          <a:spcPct val="0"/>
        </a:spcBef>
        <a:buNone/>
        <a:defRPr sz="43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9471" indent="-339471" algn="l" defTabSz="905256" rtl="0" eaLnBrk="1" latinLnBrk="0" hangingPunct="1">
        <a:spcBef>
          <a:spcPct val="20000"/>
        </a:spcBef>
        <a:buFont typeface="Arial" pitchFamily="34" charset="0"/>
        <a:buChar char="•"/>
        <a:defRPr sz="3168" kern="1200">
          <a:solidFill>
            <a:schemeClr val="tx1"/>
          </a:solidFill>
          <a:latin typeface="+mn-lt"/>
          <a:ea typeface="+mn-ea"/>
          <a:cs typeface="+mn-cs"/>
        </a:defRPr>
      </a:lvl1pPr>
      <a:lvl2pPr marL="735521" indent="-282893" algn="l" defTabSz="905256" rtl="0" eaLnBrk="1" latinLnBrk="0" hangingPunct="1">
        <a:spcBef>
          <a:spcPct val="20000"/>
        </a:spcBef>
        <a:buFont typeface="Arial" pitchFamily="34" charset="0"/>
        <a:buChar char="–"/>
        <a:defRPr sz="2772" kern="1200">
          <a:solidFill>
            <a:schemeClr val="tx1"/>
          </a:solidFill>
          <a:latin typeface="+mn-lt"/>
          <a:ea typeface="+mn-ea"/>
          <a:cs typeface="+mn-cs"/>
        </a:defRPr>
      </a:lvl2pPr>
      <a:lvl3pPr marL="1131570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2376" kern="1200">
          <a:solidFill>
            <a:schemeClr val="tx1"/>
          </a:solidFill>
          <a:latin typeface="+mn-lt"/>
          <a:ea typeface="+mn-ea"/>
          <a:cs typeface="+mn-cs"/>
        </a:defRPr>
      </a:lvl3pPr>
      <a:lvl4pPr marL="1584198" indent="-226314" algn="l" defTabSz="905256" rtl="0" eaLnBrk="1" latinLnBrk="0" hangingPunct="1">
        <a:spcBef>
          <a:spcPct val="20000"/>
        </a:spcBef>
        <a:buFont typeface="Arial" pitchFamily="34" charset="0"/>
        <a:buChar char="–"/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36826" indent="-226314" algn="l" defTabSz="905256" rtl="0" eaLnBrk="1" latinLnBrk="0" hangingPunct="1">
        <a:spcBef>
          <a:spcPct val="20000"/>
        </a:spcBef>
        <a:buFont typeface="Arial" pitchFamily="34" charset="0"/>
        <a:buChar char="»"/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489454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2942082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394710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38" indent="-226314" algn="l" defTabSz="905256" rtl="0" eaLnBrk="1" latinLnBrk="0" hangingPunct="1">
        <a:spcBef>
          <a:spcPct val="20000"/>
        </a:spcBef>
        <a:buFont typeface="Arial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1pPr>
      <a:lvl2pPr marL="45262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2pPr>
      <a:lvl3pPr marL="90525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3pPr>
      <a:lvl4pPr marL="135788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4pPr>
      <a:lvl5pPr marL="1810512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6pPr>
      <a:lvl7pPr marL="2715768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7pPr>
      <a:lvl8pPr marL="3168396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8pPr>
      <a:lvl9pPr marL="3621024" algn="l" defTabSz="905256" rtl="0" eaLnBrk="1" latinLnBrk="0" hangingPunct="1">
        <a:defRPr sz="17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9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F5BD210-F620-4752-9B84-FD706B7D6DED}"/>
              </a:ext>
            </a:extLst>
          </p:cNvPr>
          <p:cNvSpPr txBox="1"/>
          <p:nvPr/>
        </p:nvSpPr>
        <p:spPr>
          <a:xfrm>
            <a:off x="4891881" y="2273282"/>
            <a:ext cx="6857207" cy="2984518"/>
          </a:xfrm>
          <a:prstGeom prst="rect">
            <a:avLst/>
          </a:prstGeom>
          <a:solidFill>
            <a:srgbClr val="1E0A0B"/>
          </a:solidFill>
        </p:spPr>
        <p:txBody>
          <a:bodyPr wrap="square" anchor="ctr">
            <a:noAutofit/>
          </a:bodyPr>
          <a:lstStyle/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Nescafe Gold Blend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48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DRD Template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36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February 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07F902-90C1-4399-B7BE-C20C5D42A3B2}"/>
              </a:ext>
            </a:extLst>
          </p:cNvPr>
          <p:cNvSpPr txBox="1"/>
          <p:nvPr/>
        </p:nvSpPr>
        <p:spPr>
          <a:xfrm>
            <a:off x="5120481" y="2273282"/>
            <a:ext cx="6857207" cy="29845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/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rgbClr val="864F18"/>
                </a:solidFill>
                <a:cs typeface="Futura Condensed ExtraBold" panose="020B0602020204020303" pitchFamily="34" charset="-79"/>
              </a:rPr>
              <a:t>Nescafe Dolce Gusto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3200" b="1" dirty="0">
                <a:solidFill>
                  <a:schemeClr val="accent2">
                    <a:lumMod val="75000"/>
                  </a:schemeClr>
                </a:solidFill>
                <a:cs typeface="Futura Condensed ExtraBold" panose="020B0602020204020303" pitchFamily="34" charset="-79"/>
              </a:rPr>
              <a:t>MMX Topline Results – Machine Sales</a:t>
            </a:r>
          </a:p>
          <a:p>
            <a:pPr marL="228600">
              <a:spcBef>
                <a:spcPts val="600"/>
              </a:spcBef>
              <a:spcAft>
                <a:spcPts val="600"/>
              </a:spcAft>
            </a:pPr>
            <a:r>
              <a:rPr lang="en-US" sz="3200" b="1" dirty="0">
                <a:solidFill>
                  <a:schemeClr val="accent2">
                    <a:lumMod val="75000"/>
                  </a:schemeClr>
                </a:solidFill>
                <a:cs typeface="Futura Condensed ExtraBold" panose="020B0602020204020303" pitchFamily="34" charset="-79"/>
              </a:rPr>
              <a:t>May 2022</a:t>
            </a:r>
          </a:p>
        </p:txBody>
      </p:sp>
      <p:pic>
        <p:nvPicPr>
          <p:cNvPr id="4" name="Picture 2" descr="Nestlé signals personalised nutrition priority in Japan with launch of new  DNA testing platform">
            <a:extLst>
              <a:ext uri="{FF2B5EF4-FFF2-40B4-BE49-F238E27FC236}">
                <a16:creationId xmlns:a16="http://schemas.microsoft.com/office/drawing/2014/main" id="{05DC3804-7969-4236-B9B2-69B20AA40C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40" b="27587"/>
          <a:stretch/>
        </p:blipFill>
        <p:spPr bwMode="auto">
          <a:xfrm>
            <a:off x="-189871" y="5934293"/>
            <a:ext cx="2873079" cy="89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20404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6289817"/>
              </p:ext>
            </p:extLst>
          </p:nvPr>
        </p:nvGraphicFramePr>
        <p:xfrm>
          <a:off x="59640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2701748"/>
              </p:ext>
            </p:extLst>
          </p:nvPr>
        </p:nvGraphicFramePr>
        <p:xfrm>
          <a:off x="6449186" y="1203454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otal Due-T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3048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3048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A5E6423-2584-4A8A-8634-8E6F80CC68CE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567448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2853556"/>
              </p:ext>
            </p:extLst>
          </p:nvPr>
        </p:nvGraphicFramePr>
        <p:xfrm>
          <a:off x="59640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7270789"/>
              </p:ext>
            </p:extLst>
          </p:nvPr>
        </p:nvGraphicFramePr>
        <p:xfrm>
          <a:off x="6449186" y="1203454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ue-To : Own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2286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22860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4">
            <a:extLst>
              <a:ext uri="{FF2B5EF4-FFF2-40B4-BE49-F238E27FC236}">
                <a16:creationId xmlns:a16="http://schemas.microsoft.com/office/drawing/2014/main" id="{E4144AF5-D1E7-4848-B597-E190E8D59C87}"/>
              </a:ext>
            </a:extLst>
          </p:cNvPr>
          <p:cNvSpPr/>
          <p:nvPr/>
        </p:nvSpPr>
        <p:spPr>
          <a:xfrm>
            <a:off x="5237752" y="3048000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4" name="Rectangle: Rounded Corners 124">
            <a:extLst>
              <a:ext uri="{FF2B5EF4-FFF2-40B4-BE49-F238E27FC236}">
                <a16:creationId xmlns:a16="http://schemas.microsoft.com/office/drawing/2014/main" id="{D22560A1-627B-48F5-B77A-43F813F276A0}"/>
              </a:ext>
            </a:extLst>
          </p:cNvPr>
          <p:cNvSpPr/>
          <p:nvPr/>
        </p:nvSpPr>
        <p:spPr>
          <a:xfrm>
            <a:off x="5240031" y="35362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33%</a:t>
            </a:r>
          </a:p>
        </p:txBody>
      </p:sp>
      <p:sp>
        <p:nvSpPr>
          <p:cNvPr id="15" name="Rectangle: Rounded Corners 124">
            <a:extLst>
              <a:ext uri="{FF2B5EF4-FFF2-40B4-BE49-F238E27FC236}">
                <a16:creationId xmlns:a16="http://schemas.microsoft.com/office/drawing/2014/main" id="{2134657A-DB2A-40A6-85DC-E949234FBA74}"/>
              </a:ext>
            </a:extLst>
          </p:cNvPr>
          <p:cNvSpPr/>
          <p:nvPr/>
        </p:nvSpPr>
        <p:spPr>
          <a:xfrm>
            <a:off x="5237752" y="40696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8%</a:t>
            </a:r>
          </a:p>
        </p:txBody>
      </p:sp>
      <p:sp>
        <p:nvSpPr>
          <p:cNvPr id="16" name="Rectangle: Rounded Corners 124">
            <a:extLst>
              <a:ext uri="{FF2B5EF4-FFF2-40B4-BE49-F238E27FC236}">
                <a16:creationId xmlns:a16="http://schemas.microsoft.com/office/drawing/2014/main" id="{356FD728-F1C9-41E9-8262-123462846890}"/>
              </a:ext>
            </a:extLst>
          </p:cNvPr>
          <p:cNvSpPr/>
          <p:nvPr/>
        </p:nvSpPr>
        <p:spPr>
          <a:xfrm>
            <a:off x="5237752" y="46030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77%</a:t>
            </a:r>
          </a:p>
        </p:txBody>
      </p:sp>
      <p:sp>
        <p:nvSpPr>
          <p:cNvPr id="17" name="Rectangle: Rounded Corners 124">
            <a:extLst>
              <a:ext uri="{FF2B5EF4-FFF2-40B4-BE49-F238E27FC236}">
                <a16:creationId xmlns:a16="http://schemas.microsoft.com/office/drawing/2014/main" id="{C97AEF4E-F23C-4DF6-A93A-4F8F28472560}"/>
              </a:ext>
            </a:extLst>
          </p:cNvPr>
          <p:cNvSpPr/>
          <p:nvPr/>
        </p:nvSpPr>
        <p:spPr>
          <a:xfrm>
            <a:off x="5237752" y="5110298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A3052B-13EE-41C3-9EBD-BA62744B2D5F}"/>
              </a:ext>
            </a:extLst>
          </p:cNvPr>
          <p:cNvSpPr txBox="1"/>
          <p:nvPr/>
        </p:nvSpPr>
        <p:spPr>
          <a:xfrm>
            <a:off x="5003164" y="1864641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F8455B-1E87-40F2-A36A-73DF2D6E0962}"/>
              </a:ext>
            </a:extLst>
          </p:cNvPr>
          <p:cNvSpPr txBox="1"/>
          <p:nvPr/>
        </p:nvSpPr>
        <p:spPr>
          <a:xfrm>
            <a:off x="10856160" y="1864641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20" name="Rectangle: Rounded Corners 124">
            <a:extLst>
              <a:ext uri="{FF2B5EF4-FFF2-40B4-BE49-F238E27FC236}">
                <a16:creationId xmlns:a16="http://schemas.microsoft.com/office/drawing/2014/main" id="{C941F7C0-418A-4BE8-ADEF-CAC62877C012}"/>
              </a:ext>
            </a:extLst>
          </p:cNvPr>
          <p:cNvSpPr/>
          <p:nvPr/>
        </p:nvSpPr>
        <p:spPr>
          <a:xfrm>
            <a:off x="5238368" y="2469424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56%</a:t>
            </a:r>
          </a:p>
        </p:txBody>
      </p:sp>
      <p:sp>
        <p:nvSpPr>
          <p:cNvPr id="21" name="Rectangle: Rounded Corners 124">
            <a:extLst>
              <a:ext uri="{FF2B5EF4-FFF2-40B4-BE49-F238E27FC236}">
                <a16:creationId xmlns:a16="http://schemas.microsoft.com/office/drawing/2014/main" id="{5AA3AFE1-8A56-4038-B140-5400EF35A784}"/>
              </a:ext>
            </a:extLst>
          </p:cNvPr>
          <p:cNvSpPr/>
          <p:nvPr/>
        </p:nvSpPr>
        <p:spPr>
          <a:xfrm>
            <a:off x="11077599" y="3050300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++</a:t>
            </a:r>
          </a:p>
        </p:txBody>
      </p:sp>
      <p:sp>
        <p:nvSpPr>
          <p:cNvPr id="22" name="Rectangle: Rounded Corners 124">
            <a:extLst>
              <a:ext uri="{FF2B5EF4-FFF2-40B4-BE49-F238E27FC236}">
                <a16:creationId xmlns:a16="http://schemas.microsoft.com/office/drawing/2014/main" id="{0300BE16-093A-4181-9912-C5F8C4CC4D12}"/>
              </a:ext>
            </a:extLst>
          </p:cNvPr>
          <p:cNvSpPr/>
          <p:nvPr/>
        </p:nvSpPr>
        <p:spPr>
          <a:xfrm>
            <a:off x="11079878" y="35385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80%</a:t>
            </a:r>
          </a:p>
        </p:txBody>
      </p:sp>
      <p:sp>
        <p:nvSpPr>
          <p:cNvPr id="23" name="Rectangle: Rounded Corners 124">
            <a:extLst>
              <a:ext uri="{FF2B5EF4-FFF2-40B4-BE49-F238E27FC236}">
                <a16:creationId xmlns:a16="http://schemas.microsoft.com/office/drawing/2014/main" id="{B0771F41-7BC9-44F6-8E33-129C5BA858A1}"/>
              </a:ext>
            </a:extLst>
          </p:cNvPr>
          <p:cNvSpPr/>
          <p:nvPr/>
        </p:nvSpPr>
        <p:spPr>
          <a:xfrm>
            <a:off x="11077599" y="40719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75%</a:t>
            </a:r>
          </a:p>
        </p:txBody>
      </p:sp>
      <p:sp>
        <p:nvSpPr>
          <p:cNvPr id="24" name="Rectangle: Rounded Corners 124">
            <a:extLst>
              <a:ext uri="{FF2B5EF4-FFF2-40B4-BE49-F238E27FC236}">
                <a16:creationId xmlns:a16="http://schemas.microsoft.com/office/drawing/2014/main" id="{BC7EE688-978F-4905-8003-C96EE42AC5A1}"/>
              </a:ext>
            </a:extLst>
          </p:cNvPr>
          <p:cNvSpPr/>
          <p:nvPr/>
        </p:nvSpPr>
        <p:spPr>
          <a:xfrm>
            <a:off x="11077599" y="46053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41%</a:t>
            </a:r>
          </a:p>
        </p:txBody>
      </p:sp>
      <p:sp>
        <p:nvSpPr>
          <p:cNvPr id="25" name="Rectangle: Rounded Corners 124">
            <a:extLst>
              <a:ext uri="{FF2B5EF4-FFF2-40B4-BE49-F238E27FC236}">
                <a16:creationId xmlns:a16="http://schemas.microsoft.com/office/drawing/2014/main" id="{29D52AAC-ADF8-413B-A9D6-1A95E6B591BE}"/>
              </a:ext>
            </a:extLst>
          </p:cNvPr>
          <p:cNvSpPr/>
          <p:nvPr/>
        </p:nvSpPr>
        <p:spPr>
          <a:xfrm>
            <a:off x="11077599" y="5112598"/>
            <a:ext cx="548640" cy="273776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++</a:t>
            </a:r>
          </a:p>
        </p:txBody>
      </p:sp>
      <p:sp>
        <p:nvSpPr>
          <p:cNvPr id="26" name="Rectangle: Rounded Corners 124">
            <a:extLst>
              <a:ext uri="{FF2B5EF4-FFF2-40B4-BE49-F238E27FC236}">
                <a16:creationId xmlns:a16="http://schemas.microsoft.com/office/drawing/2014/main" id="{979A3765-3B28-45C5-92CF-5C888D3FB349}"/>
              </a:ext>
            </a:extLst>
          </p:cNvPr>
          <p:cNvSpPr/>
          <p:nvPr/>
        </p:nvSpPr>
        <p:spPr>
          <a:xfrm>
            <a:off x="11078215" y="2471724"/>
            <a:ext cx="548640" cy="273776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29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4DB9F6E-6D98-4749-ABA0-3503C110CB0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007802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171CA-F178-4D69-8A7E-7FA772FF8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561CF-13F5-4A2F-8A06-CBE1FBCF2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pport Summary : Own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43904-C8BA-489E-8D98-F6222AFD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C50B085-BF38-4EB7-8E68-F44249B063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1861195"/>
              </p:ext>
            </p:extLst>
          </p:nvPr>
        </p:nvGraphicFramePr>
        <p:xfrm>
          <a:off x="1084881" y="1752600"/>
          <a:ext cx="9922975" cy="409744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366778">
                  <a:extLst>
                    <a:ext uri="{9D8B030D-6E8A-4147-A177-3AD203B41FA5}">
                      <a16:colId xmlns:a16="http://schemas.microsoft.com/office/drawing/2014/main" val="1586872712"/>
                    </a:ext>
                  </a:extLst>
                </a:gridCol>
                <a:gridCol w="2014922">
                  <a:extLst>
                    <a:ext uri="{9D8B030D-6E8A-4147-A177-3AD203B41FA5}">
                      <a16:colId xmlns:a16="http://schemas.microsoft.com/office/drawing/2014/main" val="2790855339"/>
                    </a:ext>
                  </a:extLst>
                </a:gridCol>
                <a:gridCol w="1839573">
                  <a:extLst>
                    <a:ext uri="{9D8B030D-6E8A-4147-A177-3AD203B41FA5}">
                      <a16:colId xmlns:a16="http://schemas.microsoft.com/office/drawing/2014/main" val="969680569"/>
                    </a:ext>
                  </a:extLst>
                </a:gridCol>
                <a:gridCol w="1850851">
                  <a:extLst>
                    <a:ext uri="{9D8B030D-6E8A-4147-A177-3AD203B41FA5}">
                      <a16:colId xmlns:a16="http://schemas.microsoft.com/office/drawing/2014/main" val="1860297480"/>
                    </a:ext>
                  </a:extLst>
                </a:gridCol>
                <a:gridCol w="1850851">
                  <a:extLst>
                    <a:ext uri="{9D8B030D-6E8A-4147-A177-3AD203B41FA5}">
                      <a16:colId xmlns:a16="http://schemas.microsoft.com/office/drawing/2014/main" val="964085543"/>
                    </a:ext>
                  </a:extLst>
                </a:gridCol>
              </a:tblGrid>
              <a:tr h="54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L="182880" marR="18288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r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0983541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2539219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.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575416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SS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5068889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W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52324078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  <a:b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Mio. JPY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224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</a:t>
                      </a:r>
                    </a:p>
                  </a:txBody>
                  <a:tcPr marL="182880" marR="1828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Ps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 000’s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Rounded Rectangle 33">
            <a:extLst>
              <a:ext uri="{FF2B5EF4-FFF2-40B4-BE49-F238E27FC236}">
                <a16:creationId xmlns:a16="http://schemas.microsoft.com/office/drawing/2014/main" id="{BBC2DAA3-E0C5-41F6-9C3E-FC9C7475D713}"/>
              </a:ext>
            </a:extLst>
          </p:cNvPr>
          <p:cNvSpPr/>
          <p:nvPr/>
        </p:nvSpPr>
        <p:spPr>
          <a:xfrm>
            <a:off x="8856323" y="2438400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29% </a:t>
            </a:r>
          </a:p>
        </p:txBody>
      </p:sp>
      <p:sp>
        <p:nvSpPr>
          <p:cNvPr id="7" name="Rounded Rectangle 33">
            <a:extLst>
              <a:ext uri="{FF2B5EF4-FFF2-40B4-BE49-F238E27FC236}">
                <a16:creationId xmlns:a16="http://schemas.microsoft.com/office/drawing/2014/main" id="{FC0B0193-3310-45AD-A131-C022401E4C66}"/>
              </a:ext>
            </a:extLst>
          </p:cNvPr>
          <p:cNvSpPr/>
          <p:nvPr/>
        </p:nvSpPr>
        <p:spPr>
          <a:xfrm>
            <a:off x="8856323" y="360684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80% </a:t>
            </a:r>
          </a:p>
        </p:txBody>
      </p:sp>
      <p:sp>
        <p:nvSpPr>
          <p:cNvPr id="8" name="Rounded Rectangle 33">
            <a:extLst>
              <a:ext uri="{FF2B5EF4-FFF2-40B4-BE49-F238E27FC236}">
                <a16:creationId xmlns:a16="http://schemas.microsoft.com/office/drawing/2014/main" id="{AD8A483A-D7B9-4B8A-9AA9-C577698223BF}"/>
              </a:ext>
            </a:extLst>
          </p:cNvPr>
          <p:cNvSpPr/>
          <p:nvPr/>
        </p:nvSpPr>
        <p:spPr>
          <a:xfrm>
            <a:off x="8856323" y="416833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75% </a:t>
            </a:r>
          </a:p>
        </p:txBody>
      </p:sp>
      <p:sp>
        <p:nvSpPr>
          <p:cNvPr id="9" name="Rounded Rectangle 33">
            <a:extLst>
              <a:ext uri="{FF2B5EF4-FFF2-40B4-BE49-F238E27FC236}">
                <a16:creationId xmlns:a16="http://schemas.microsoft.com/office/drawing/2014/main" id="{42034CEE-5A9F-4286-91C0-4CB5C60CFBB2}"/>
              </a:ext>
            </a:extLst>
          </p:cNvPr>
          <p:cNvSpPr/>
          <p:nvPr/>
        </p:nvSpPr>
        <p:spPr>
          <a:xfrm>
            <a:off x="8856323" y="478202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41% </a:t>
            </a:r>
          </a:p>
        </p:txBody>
      </p:sp>
      <p:sp>
        <p:nvSpPr>
          <p:cNvPr id="10" name="Rounded Rectangle 43">
            <a:extLst>
              <a:ext uri="{FF2B5EF4-FFF2-40B4-BE49-F238E27FC236}">
                <a16:creationId xmlns:a16="http://schemas.microsoft.com/office/drawing/2014/main" id="{2E347F7D-EFBF-418F-A370-88EA36012BE7}"/>
              </a:ext>
            </a:extLst>
          </p:cNvPr>
          <p:cNvSpPr/>
          <p:nvPr/>
        </p:nvSpPr>
        <p:spPr>
          <a:xfrm>
            <a:off x="7025481" y="2438400"/>
            <a:ext cx="645466" cy="27432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prstClr val="white"/>
                </a:solidFill>
                <a:latin typeface="Calibri"/>
              </a:rPr>
              <a:t>56%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1" name="Rounded Rectangle 33">
            <a:extLst>
              <a:ext uri="{FF2B5EF4-FFF2-40B4-BE49-F238E27FC236}">
                <a16:creationId xmlns:a16="http://schemas.microsoft.com/office/drawing/2014/main" id="{81CF7FB4-1319-48DC-9B25-9EDF866A6F83}"/>
              </a:ext>
            </a:extLst>
          </p:cNvPr>
          <p:cNvSpPr/>
          <p:nvPr/>
        </p:nvSpPr>
        <p:spPr>
          <a:xfrm>
            <a:off x="7025481" y="360684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33% </a:t>
            </a:r>
          </a:p>
        </p:txBody>
      </p:sp>
      <p:sp>
        <p:nvSpPr>
          <p:cNvPr id="12" name="Rounded Rectangle 33">
            <a:extLst>
              <a:ext uri="{FF2B5EF4-FFF2-40B4-BE49-F238E27FC236}">
                <a16:creationId xmlns:a16="http://schemas.microsoft.com/office/drawing/2014/main" id="{F38FFA2C-03BC-4494-A927-790FE0075FF8}"/>
              </a:ext>
            </a:extLst>
          </p:cNvPr>
          <p:cNvSpPr/>
          <p:nvPr/>
        </p:nvSpPr>
        <p:spPr>
          <a:xfrm>
            <a:off x="7025481" y="4168331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8% </a:t>
            </a:r>
          </a:p>
        </p:txBody>
      </p:sp>
      <p:sp>
        <p:nvSpPr>
          <p:cNvPr id="13" name="Rounded Rectangle 33">
            <a:extLst>
              <a:ext uri="{FF2B5EF4-FFF2-40B4-BE49-F238E27FC236}">
                <a16:creationId xmlns:a16="http://schemas.microsoft.com/office/drawing/2014/main" id="{0DBFC0EE-2138-427D-802A-80A5E3222DE2}"/>
              </a:ext>
            </a:extLst>
          </p:cNvPr>
          <p:cNvSpPr/>
          <p:nvPr/>
        </p:nvSpPr>
        <p:spPr>
          <a:xfrm>
            <a:off x="7034432" y="4782845"/>
            <a:ext cx="645466" cy="27432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  <a:latin typeface="Calibri"/>
              </a:rPr>
              <a:t>-77%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970149-E091-435E-A635-6BAC7DF222AF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8436996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784C6-A314-406B-9358-2182AEAD51A3}"/>
              </a:ext>
            </a:extLst>
          </p:cNvPr>
          <p:cNvSpPr/>
          <p:nvPr/>
        </p:nvSpPr>
        <p:spPr>
          <a:xfrm>
            <a:off x="258536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B6C18-1A9C-48AF-A8C5-E80FE8D0DBC5}"/>
              </a:ext>
            </a:extLst>
          </p:cNvPr>
          <p:cNvSpPr/>
          <p:nvPr/>
        </p:nvSpPr>
        <p:spPr>
          <a:xfrm>
            <a:off x="6111321" y="1295400"/>
            <a:ext cx="5623945" cy="4443248"/>
          </a:xfrm>
          <a:prstGeom prst="rect">
            <a:avLst/>
          </a:prstGeom>
          <a:solidFill>
            <a:srgbClr val="E5E5E5">
              <a:alpha val="20000"/>
            </a:srgbClr>
          </a:solidFill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D4C8C3A-3251-45C1-9B2B-CEE87225D6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6302376"/>
              </p:ext>
            </p:extLst>
          </p:nvPr>
        </p:nvGraphicFramePr>
        <p:xfrm>
          <a:off x="167481" y="1203453"/>
          <a:ext cx="4948214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318FC45-421B-4722-B479-57642BB07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640934"/>
              </p:ext>
            </p:extLst>
          </p:nvPr>
        </p:nvGraphicFramePr>
        <p:xfrm>
          <a:off x="6187281" y="1203454"/>
          <a:ext cx="4795813" cy="466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747D5-941D-4019-A0D7-6895DF205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8BF5B-891C-46F8-A002-AE45FFF2D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ue-To : Non-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73A59A-84B3-4E43-81AE-BF4FB928F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FFE059-35EC-4168-BDE4-504EC7328246}"/>
              </a:ext>
            </a:extLst>
          </p:cNvPr>
          <p:cNvSpPr/>
          <p:nvPr/>
        </p:nvSpPr>
        <p:spPr>
          <a:xfrm>
            <a:off x="258536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 2020 vs 2019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363B75-3059-404D-A7A3-BEFB68FBB56B}"/>
              </a:ext>
            </a:extLst>
          </p:cNvPr>
          <p:cNvSpPr/>
          <p:nvPr/>
        </p:nvSpPr>
        <p:spPr>
          <a:xfrm>
            <a:off x="6111321" y="1445174"/>
            <a:ext cx="5623946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44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accent2"/>
                </a:solidFill>
              </a:rPr>
              <a:t>2021 vs 202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283105-D448-4086-9935-231679EC32E1}"/>
              </a:ext>
            </a:extLst>
          </p:cNvPr>
          <p:cNvCxnSpPr>
            <a:cxnSpLocks/>
          </p:cNvCxnSpPr>
          <p:nvPr/>
        </p:nvCxnSpPr>
        <p:spPr>
          <a:xfrm>
            <a:off x="6111081" y="1981200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4F426A-FE67-4DF0-8646-849DF31AF598}"/>
              </a:ext>
            </a:extLst>
          </p:cNvPr>
          <p:cNvCxnSpPr>
            <a:cxnSpLocks/>
          </p:cNvCxnSpPr>
          <p:nvPr/>
        </p:nvCxnSpPr>
        <p:spPr>
          <a:xfrm>
            <a:off x="280019" y="2021559"/>
            <a:ext cx="560246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4">
            <a:extLst>
              <a:ext uri="{FF2B5EF4-FFF2-40B4-BE49-F238E27FC236}">
                <a16:creationId xmlns:a16="http://schemas.microsoft.com/office/drawing/2014/main" id="{E4144AF5-D1E7-4848-B597-E190E8D59C87}"/>
              </a:ext>
            </a:extLst>
          </p:cNvPr>
          <p:cNvSpPr/>
          <p:nvPr/>
        </p:nvSpPr>
        <p:spPr>
          <a:xfrm>
            <a:off x="5225816" y="2083354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38%</a:t>
            </a:r>
          </a:p>
        </p:txBody>
      </p:sp>
      <p:sp>
        <p:nvSpPr>
          <p:cNvPr id="14" name="Rectangle: Rounded Corners 124">
            <a:extLst>
              <a:ext uri="{FF2B5EF4-FFF2-40B4-BE49-F238E27FC236}">
                <a16:creationId xmlns:a16="http://schemas.microsoft.com/office/drawing/2014/main" id="{D22560A1-627B-48F5-B77A-43F813F276A0}"/>
              </a:ext>
            </a:extLst>
          </p:cNvPr>
          <p:cNvSpPr/>
          <p:nvPr/>
        </p:nvSpPr>
        <p:spPr>
          <a:xfrm>
            <a:off x="5224768" y="2614281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-</a:t>
            </a:r>
            <a:r>
              <a:rPr lang="en-US" sz="900" dirty="0">
                <a:solidFill>
                  <a:srgbClr val="FF0000"/>
                </a:solidFill>
              </a:rPr>
              <a:t>2,700 pt.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5" name="Rectangle: Rounded Corners 124">
            <a:extLst>
              <a:ext uri="{FF2B5EF4-FFF2-40B4-BE49-F238E27FC236}">
                <a16:creationId xmlns:a16="http://schemas.microsoft.com/office/drawing/2014/main" id="{2134657A-DB2A-40A6-85DC-E949234FBA74}"/>
              </a:ext>
            </a:extLst>
          </p:cNvPr>
          <p:cNvSpPr/>
          <p:nvPr/>
        </p:nvSpPr>
        <p:spPr>
          <a:xfrm>
            <a:off x="5224768" y="290932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FF0000"/>
                </a:solidFill>
              </a:rPr>
              <a:t>-1,987 pt.</a:t>
            </a:r>
            <a:endParaRPr lang="en-US" sz="1089" dirty="0">
              <a:solidFill>
                <a:srgbClr val="FF0000"/>
              </a:solidFill>
            </a:endParaRPr>
          </a:p>
        </p:txBody>
      </p:sp>
      <p:sp>
        <p:nvSpPr>
          <p:cNvPr id="16" name="Rectangle: Rounded Corners 124">
            <a:extLst>
              <a:ext uri="{FF2B5EF4-FFF2-40B4-BE49-F238E27FC236}">
                <a16:creationId xmlns:a16="http://schemas.microsoft.com/office/drawing/2014/main" id="{356FD728-F1C9-41E9-8262-123462846890}"/>
              </a:ext>
            </a:extLst>
          </p:cNvPr>
          <p:cNvSpPr/>
          <p:nvPr/>
        </p:nvSpPr>
        <p:spPr>
          <a:xfrm>
            <a:off x="5224768" y="4022026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800" dirty="0">
                <a:solidFill>
                  <a:srgbClr val="FF0000"/>
                </a:solidFill>
              </a:rPr>
              <a:t>3.3 </a:t>
            </a:r>
            <a:r>
              <a:rPr lang="en-US" sz="800" dirty="0" err="1">
                <a:solidFill>
                  <a:srgbClr val="FF0000"/>
                </a:solidFill>
              </a:rPr>
              <a:t>mio</a:t>
            </a:r>
            <a:r>
              <a:rPr lang="en-US" sz="800" dirty="0">
                <a:solidFill>
                  <a:srgbClr val="FF0000"/>
                </a:solidFill>
              </a:rPr>
              <a:t>. Pt.</a:t>
            </a:r>
          </a:p>
        </p:txBody>
      </p:sp>
      <p:sp>
        <p:nvSpPr>
          <p:cNvPr id="17" name="Rectangle: Rounded Corners 124">
            <a:extLst>
              <a:ext uri="{FF2B5EF4-FFF2-40B4-BE49-F238E27FC236}">
                <a16:creationId xmlns:a16="http://schemas.microsoft.com/office/drawing/2014/main" id="{C97AEF4E-F23C-4DF6-A93A-4F8F28472560}"/>
              </a:ext>
            </a:extLst>
          </p:cNvPr>
          <p:cNvSpPr/>
          <p:nvPr/>
        </p:nvSpPr>
        <p:spPr>
          <a:xfrm>
            <a:off x="5229836" y="432029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A3052B-13EE-41C3-9EBD-BA62744B2D5F}"/>
              </a:ext>
            </a:extLst>
          </p:cNvPr>
          <p:cNvSpPr txBox="1"/>
          <p:nvPr/>
        </p:nvSpPr>
        <p:spPr>
          <a:xfrm>
            <a:off x="5003164" y="1600200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F8455B-1E87-40F2-A36A-73DF2D6E0962}"/>
              </a:ext>
            </a:extLst>
          </p:cNvPr>
          <p:cNvSpPr txBox="1"/>
          <p:nvPr/>
        </p:nvSpPr>
        <p:spPr>
          <a:xfrm>
            <a:off x="10856160" y="1600200"/>
            <a:ext cx="87931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CHANGE IN </a:t>
            </a:r>
            <a:br>
              <a:rPr lang="en-US" sz="1000" b="1" dirty="0"/>
            </a:br>
            <a:r>
              <a:rPr lang="en-US" sz="1000" b="1" dirty="0"/>
              <a:t>SUPPORT</a:t>
            </a:r>
            <a:endParaRPr lang="en-GB" sz="1000" b="1" dirty="0"/>
          </a:p>
        </p:txBody>
      </p:sp>
      <p:sp>
        <p:nvSpPr>
          <p:cNvPr id="20" name="Rectangle: Rounded Corners 124">
            <a:extLst>
              <a:ext uri="{FF2B5EF4-FFF2-40B4-BE49-F238E27FC236}">
                <a16:creationId xmlns:a16="http://schemas.microsoft.com/office/drawing/2014/main" id="{C941F7C0-418A-4BE8-ADEF-CAC62877C012}"/>
              </a:ext>
            </a:extLst>
          </p:cNvPr>
          <p:cNvSpPr/>
          <p:nvPr/>
        </p:nvSpPr>
        <p:spPr>
          <a:xfrm>
            <a:off x="5225816" y="2362200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1.0 pt.</a:t>
            </a:r>
          </a:p>
        </p:txBody>
      </p:sp>
      <p:sp>
        <p:nvSpPr>
          <p:cNvPr id="27" name="Rectangle: Rounded Corners 124">
            <a:extLst>
              <a:ext uri="{FF2B5EF4-FFF2-40B4-BE49-F238E27FC236}">
                <a16:creationId xmlns:a16="http://schemas.microsoft.com/office/drawing/2014/main" id="{259233D9-7C1C-4256-B83F-007275152A63}"/>
              </a:ext>
            </a:extLst>
          </p:cNvPr>
          <p:cNvSpPr/>
          <p:nvPr/>
        </p:nvSpPr>
        <p:spPr>
          <a:xfrm>
            <a:off x="5224768" y="3198665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FF0000"/>
                </a:solidFill>
              </a:rPr>
              <a:t>-9,491 pt.</a:t>
            </a:r>
            <a:endParaRPr lang="en-US" sz="1089" dirty="0">
              <a:solidFill>
                <a:srgbClr val="FF0000"/>
              </a:solidFill>
            </a:endParaRPr>
          </a:p>
        </p:txBody>
      </p:sp>
      <p:sp>
        <p:nvSpPr>
          <p:cNvPr id="28" name="Rectangle: Rounded Corners 124">
            <a:extLst>
              <a:ext uri="{FF2B5EF4-FFF2-40B4-BE49-F238E27FC236}">
                <a16:creationId xmlns:a16="http://schemas.microsoft.com/office/drawing/2014/main" id="{24D0F12C-C401-45A9-90AE-DB9711EB1C97}"/>
              </a:ext>
            </a:extLst>
          </p:cNvPr>
          <p:cNvSpPr/>
          <p:nvPr/>
        </p:nvSpPr>
        <p:spPr>
          <a:xfrm>
            <a:off x="5234677" y="344927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18%</a:t>
            </a:r>
          </a:p>
        </p:txBody>
      </p:sp>
      <p:sp>
        <p:nvSpPr>
          <p:cNvPr id="29" name="Rectangle: Rounded Corners 124">
            <a:extLst>
              <a:ext uri="{FF2B5EF4-FFF2-40B4-BE49-F238E27FC236}">
                <a16:creationId xmlns:a16="http://schemas.microsoft.com/office/drawing/2014/main" id="{3BBF3102-DC83-49F7-A123-9D8255B8F6E6}"/>
              </a:ext>
            </a:extLst>
          </p:cNvPr>
          <p:cNvSpPr/>
          <p:nvPr/>
        </p:nvSpPr>
        <p:spPr>
          <a:xfrm>
            <a:off x="5232125" y="374753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5.3 C</a:t>
            </a:r>
          </a:p>
        </p:txBody>
      </p:sp>
      <p:sp>
        <p:nvSpPr>
          <p:cNvPr id="30" name="Rectangle: Rounded Corners 124">
            <a:extLst>
              <a:ext uri="{FF2B5EF4-FFF2-40B4-BE49-F238E27FC236}">
                <a16:creationId xmlns:a16="http://schemas.microsoft.com/office/drawing/2014/main" id="{4BD41D1D-BBFB-48CB-BFAA-4114E35C0EEE}"/>
              </a:ext>
            </a:extLst>
          </p:cNvPr>
          <p:cNvSpPr/>
          <p:nvPr/>
        </p:nvSpPr>
        <p:spPr>
          <a:xfrm>
            <a:off x="5224768" y="458436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31" name="Rectangle: Rounded Corners 124">
            <a:extLst>
              <a:ext uri="{FF2B5EF4-FFF2-40B4-BE49-F238E27FC236}">
                <a16:creationId xmlns:a16="http://schemas.microsoft.com/office/drawing/2014/main" id="{1DEDF673-5E98-4E5E-B3FD-4B9E5DEF1808}"/>
              </a:ext>
            </a:extLst>
          </p:cNvPr>
          <p:cNvSpPr/>
          <p:nvPr/>
        </p:nvSpPr>
        <p:spPr>
          <a:xfrm>
            <a:off x="5232125" y="483756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32" name="Rectangle: Rounded Corners 124">
            <a:extLst>
              <a:ext uri="{FF2B5EF4-FFF2-40B4-BE49-F238E27FC236}">
                <a16:creationId xmlns:a16="http://schemas.microsoft.com/office/drawing/2014/main" id="{C611A617-3362-4E49-A16C-7B97E2C6142C}"/>
              </a:ext>
            </a:extLst>
          </p:cNvPr>
          <p:cNvSpPr/>
          <p:nvPr/>
        </p:nvSpPr>
        <p:spPr>
          <a:xfrm>
            <a:off x="11073550" y="2073084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117%</a:t>
            </a:r>
          </a:p>
        </p:txBody>
      </p:sp>
      <p:sp>
        <p:nvSpPr>
          <p:cNvPr id="33" name="Rectangle: Rounded Corners 124">
            <a:extLst>
              <a:ext uri="{FF2B5EF4-FFF2-40B4-BE49-F238E27FC236}">
                <a16:creationId xmlns:a16="http://schemas.microsoft.com/office/drawing/2014/main" id="{95CAB21D-189B-49E8-8357-F99DF168D9A7}"/>
              </a:ext>
            </a:extLst>
          </p:cNvPr>
          <p:cNvSpPr/>
          <p:nvPr/>
        </p:nvSpPr>
        <p:spPr>
          <a:xfrm>
            <a:off x="11072502" y="259467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-</a:t>
            </a:r>
            <a:r>
              <a:rPr lang="en-US" sz="900" dirty="0">
                <a:solidFill>
                  <a:srgbClr val="FF0000"/>
                </a:solidFill>
              </a:rPr>
              <a:t>1,596 pt.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34" name="Rectangle: Rounded Corners 124">
            <a:extLst>
              <a:ext uri="{FF2B5EF4-FFF2-40B4-BE49-F238E27FC236}">
                <a16:creationId xmlns:a16="http://schemas.microsoft.com/office/drawing/2014/main" id="{2BA32F69-B505-4607-8BFD-49A19C378DBD}"/>
              </a:ext>
            </a:extLst>
          </p:cNvPr>
          <p:cNvSpPr/>
          <p:nvPr/>
        </p:nvSpPr>
        <p:spPr>
          <a:xfrm>
            <a:off x="11066066" y="2884647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00B050"/>
                </a:solidFill>
              </a:rPr>
              <a:t>2,657 pt.</a:t>
            </a:r>
            <a:endParaRPr lang="en-US" sz="1089" dirty="0">
              <a:solidFill>
                <a:srgbClr val="00B050"/>
              </a:solidFill>
            </a:endParaRPr>
          </a:p>
        </p:txBody>
      </p:sp>
      <p:sp>
        <p:nvSpPr>
          <p:cNvPr id="35" name="Rectangle: Rounded Corners 124">
            <a:extLst>
              <a:ext uri="{FF2B5EF4-FFF2-40B4-BE49-F238E27FC236}">
                <a16:creationId xmlns:a16="http://schemas.microsoft.com/office/drawing/2014/main" id="{F81EA7A2-418D-4D17-9116-D6A25EE3B5BE}"/>
              </a:ext>
            </a:extLst>
          </p:cNvPr>
          <p:cNvSpPr/>
          <p:nvPr/>
        </p:nvSpPr>
        <p:spPr>
          <a:xfrm>
            <a:off x="11066066" y="4027169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800" dirty="0">
                <a:solidFill>
                  <a:srgbClr val="FF0000"/>
                </a:solidFill>
              </a:rPr>
              <a:t>2.1 </a:t>
            </a:r>
            <a:r>
              <a:rPr lang="en-US" sz="800" dirty="0" err="1">
                <a:solidFill>
                  <a:srgbClr val="FF0000"/>
                </a:solidFill>
              </a:rPr>
              <a:t>mio</a:t>
            </a:r>
            <a:r>
              <a:rPr lang="en-US" sz="800" dirty="0">
                <a:solidFill>
                  <a:srgbClr val="FF0000"/>
                </a:solidFill>
              </a:rPr>
              <a:t>. Pt.</a:t>
            </a:r>
          </a:p>
        </p:txBody>
      </p:sp>
      <p:sp>
        <p:nvSpPr>
          <p:cNvPr id="37" name="Rectangle: Rounded Corners 124">
            <a:extLst>
              <a:ext uri="{FF2B5EF4-FFF2-40B4-BE49-F238E27FC236}">
                <a16:creationId xmlns:a16="http://schemas.microsoft.com/office/drawing/2014/main" id="{B72CAD00-B11B-4464-8AEB-44B5D6BEE099}"/>
              </a:ext>
            </a:extLst>
          </p:cNvPr>
          <p:cNvSpPr/>
          <p:nvPr/>
        </p:nvSpPr>
        <p:spPr>
          <a:xfrm>
            <a:off x="11072502" y="2327051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0.4 pt.</a:t>
            </a:r>
          </a:p>
        </p:txBody>
      </p:sp>
      <p:sp>
        <p:nvSpPr>
          <p:cNvPr id="38" name="Rectangle: Rounded Corners 124">
            <a:extLst>
              <a:ext uri="{FF2B5EF4-FFF2-40B4-BE49-F238E27FC236}">
                <a16:creationId xmlns:a16="http://schemas.microsoft.com/office/drawing/2014/main" id="{5112676A-8712-4F16-BC27-2DC66DC0534A}"/>
              </a:ext>
            </a:extLst>
          </p:cNvPr>
          <p:cNvSpPr/>
          <p:nvPr/>
        </p:nvSpPr>
        <p:spPr>
          <a:xfrm>
            <a:off x="11059054" y="3154534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900" dirty="0">
                <a:solidFill>
                  <a:srgbClr val="00B050"/>
                </a:solidFill>
              </a:rPr>
              <a:t>7,685 pt.</a:t>
            </a:r>
            <a:endParaRPr lang="en-US" sz="1089" dirty="0">
              <a:solidFill>
                <a:srgbClr val="00B050"/>
              </a:solidFill>
            </a:endParaRPr>
          </a:p>
        </p:txBody>
      </p:sp>
      <p:sp>
        <p:nvSpPr>
          <p:cNvPr id="39" name="Rectangle: Rounded Corners 124">
            <a:extLst>
              <a:ext uri="{FF2B5EF4-FFF2-40B4-BE49-F238E27FC236}">
                <a16:creationId xmlns:a16="http://schemas.microsoft.com/office/drawing/2014/main" id="{95D7FC3C-D30C-4C1D-B4FE-F02F559074D9}"/>
              </a:ext>
            </a:extLst>
          </p:cNvPr>
          <p:cNvSpPr/>
          <p:nvPr/>
        </p:nvSpPr>
        <p:spPr>
          <a:xfrm>
            <a:off x="11059054" y="3471889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4%</a:t>
            </a:r>
          </a:p>
        </p:txBody>
      </p:sp>
      <p:sp>
        <p:nvSpPr>
          <p:cNvPr id="40" name="Rectangle: Rounded Corners 124">
            <a:extLst>
              <a:ext uri="{FF2B5EF4-FFF2-40B4-BE49-F238E27FC236}">
                <a16:creationId xmlns:a16="http://schemas.microsoft.com/office/drawing/2014/main" id="{F889CDCD-62C2-4B5D-BC48-A3187F3B191B}"/>
              </a:ext>
            </a:extLst>
          </p:cNvPr>
          <p:cNvSpPr/>
          <p:nvPr/>
        </p:nvSpPr>
        <p:spPr>
          <a:xfrm>
            <a:off x="11059054" y="377981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0.1 C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2D3E801-5279-45D4-BCE6-0895DEF8B07C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44" name="Rectangle: Rounded Corners 124">
            <a:extLst>
              <a:ext uri="{FF2B5EF4-FFF2-40B4-BE49-F238E27FC236}">
                <a16:creationId xmlns:a16="http://schemas.microsoft.com/office/drawing/2014/main" id="{8D35812F-8850-4B55-B2FF-A790AFEB17AD}"/>
              </a:ext>
            </a:extLst>
          </p:cNvPr>
          <p:cNvSpPr/>
          <p:nvPr/>
        </p:nvSpPr>
        <p:spPr>
          <a:xfrm>
            <a:off x="5232125" y="511030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5" name="Rectangle: Rounded Corners 124">
            <a:extLst>
              <a:ext uri="{FF2B5EF4-FFF2-40B4-BE49-F238E27FC236}">
                <a16:creationId xmlns:a16="http://schemas.microsoft.com/office/drawing/2014/main" id="{1FB9B394-1AF8-4DB4-BEB3-818AFC7F51D8}"/>
              </a:ext>
            </a:extLst>
          </p:cNvPr>
          <p:cNvSpPr/>
          <p:nvPr/>
        </p:nvSpPr>
        <p:spPr>
          <a:xfrm>
            <a:off x="5232125" y="5390972"/>
            <a:ext cx="548640" cy="182880"/>
          </a:xfrm>
          <a:prstGeom prst="roundRect">
            <a:avLst/>
          </a:prstGeom>
          <a:ln w="6350">
            <a:solidFill>
              <a:srgbClr val="00B05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00B050"/>
                </a:solidFill>
              </a:rPr>
              <a:t>--</a:t>
            </a:r>
          </a:p>
        </p:txBody>
      </p:sp>
      <p:sp>
        <p:nvSpPr>
          <p:cNvPr id="46" name="Rectangle: Rounded Corners 124">
            <a:extLst>
              <a:ext uri="{FF2B5EF4-FFF2-40B4-BE49-F238E27FC236}">
                <a16:creationId xmlns:a16="http://schemas.microsoft.com/office/drawing/2014/main" id="{1BB60001-8012-461D-B3E9-3ECFBA60E0B5}"/>
              </a:ext>
            </a:extLst>
          </p:cNvPr>
          <p:cNvSpPr/>
          <p:nvPr/>
        </p:nvSpPr>
        <p:spPr>
          <a:xfrm>
            <a:off x="11086230" y="4328197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7" name="Rectangle: Rounded Corners 124">
            <a:extLst>
              <a:ext uri="{FF2B5EF4-FFF2-40B4-BE49-F238E27FC236}">
                <a16:creationId xmlns:a16="http://schemas.microsoft.com/office/drawing/2014/main" id="{A317CB0F-8A67-4C21-B02E-FE27410B1B11}"/>
              </a:ext>
            </a:extLst>
          </p:cNvPr>
          <p:cNvSpPr/>
          <p:nvPr/>
        </p:nvSpPr>
        <p:spPr>
          <a:xfrm>
            <a:off x="11078873" y="463983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8" name="Rectangle: Rounded Corners 124">
            <a:extLst>
              <a:ext uri="{FF2B5EF4-FFF2-40B4-BE49-F238E27FC236}">
                <a16:creationId xmlns:a16="http://schemas.microsoft.com/office/drawing/2014/main" id="{5C96230B-F528-432F-8227-051250FD75DC}"/>
              </a:ext>
            </a:extLst>
          </p:cNvPr>
          <p:cNvSpPr/>
          <p:nvPr/>
        </p:nvSpPr>
        <p:spPr>
          <a:xfrm>
            <a:off x="11086230" y="4893033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49" name="Rectangle: Rounded Corners 124">
            <a:extLst>
              <a:ext uri="{FF2B5EF4-FFF2-40B4-BE49-F238E27FC236}">
                <a16:creationId xmlns:a16="http://schemas.microsoft.com/office/drawing/2014/main" id="{6EA5F6DD-EE1E-4F68-BCC7-D569A0B4D58E}"/>
              </a:ext>
            </a:extLst>
          </p:cNvPr>
          <p:cNvSpPr/>
          <p:nvPr/>
        </p:nvSpPr>
        <p:spPr>
          <a:xfrm>
            <a:off x="11086230" y="5165770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  <p:sp>
        <p:nvSpPr>
          <p:cNvPr id="50" name="Rectangle: Rounded Corners 124">
            <a:extLst>
              <a:ext uri="{FF2B5EF4-FFF2-40B4-BE49-F238E27FC236}">
                <a16:creationId xmlns:a16="http://schemas.microsoft.com/office/drawing/2014/main" id="{31985C21-FC7D-4F6A-8004-B7E290A84246}"/>
              </a:ext>
            </a:extLst>
          </p:cNvPr>
          <p:cNvSpPr/>
          <p:nvPr/>
        </p:nvSpPr>
        <p:spPr>
          <a:xfrm>
            <a:off x="11086230" y="5446442"/>
            <a:ext cx="548640" cy="182880"/>
          </a:xfrm>
          <a:prstGeom prst="roundRect">
            <a:avLst/>
          </a:prstGeom>
          <a:ln w="635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18105" tIns="18105" rIns="18105" bIns="18105" anchor="ctr"/>
          <a:lstStyle/>
          <a:p>
            <a:pPr algn="ctr"/>
            <a:r>
              <a:rPr lang="en-US" sz="1089" dirty="0">
                <a:solidFill>
                  <a:srgbClr val="FF0000"/>
                </a:solidFill>
              </a:rPr>
              <a:t>--</a:t>
            </a:r>
          </a:p>
        </p:txBody>
      </p:sp>
    </p:spTree>
    <p:extLst>
      <p:ext uri="{BB962C8B-B14F-4D97-AF65-F5344CB8AC3E}">
        <p14:creationId xmlns:p14="http://schemas.microsoft.com/office/powerpoint/2010/main" val="3534774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8171CA-F178-4D69-8A7E-7FA772FF8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561CF-13F5-4A2F-8A06-CBE1FBCF2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pport Summary : Non- A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43904-C8BA-489E-8D98-F6222AFD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C50B085-BF38-4EB7-8E68-F44249B063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525982"/>
              </p:ext>
            </p:extLst>
          </p:nvPr>
        </p:nvGraphicFramePr>
        <p:xfrm>
          <a:off x="1084881" y="1371600"/>
          <a:ext cx="9922975" cy="4890006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969818">
                  <a:extLst>
                    <a:ext uri="{9D8B030D-6E8A-4147-A177-3AD203B41FA5}">
                      <a16:colId xmlns:a16="http://schemas.microsoft.com/office/drawing/2014/main" val="1586872712"/>
                    </a:ext>
                  </a:extLst>
                </a:gridCol>
                <a:gridCol w="2308285">
                  <a:extLst>
                    <a:ext uri="{9D8B030D-6E8A-4147-A177-3AD203B41FA5}">
                      <a16:colId xmlns:a16="http://schemas.microsoft.com/office/drawing/2014/main" val="969680569"/>
                    </a:ext>
                  </a:extLst>
                </a:gridCol>
                <a:gridCol w="2322436">
                  <a:extLst>
                    <a:ext uri="{9D8B030D-6E8A-4147-A177-3AD203B41FA5}">
                      <a16:colId xmlns:a16="http://schemas.microsoft.com/office/drawing/2014/main" val="1860297480"/>
                    </a:ext>
                  </a:extLst>
                </a:gridCol>
                <a:gridCol w="2322436">
                  <a:extLst>
                    <a:ext uri="{9D8B030D-6E8A-4147-A177-3AD203B41FA5}">
                      <a16:colId xmlns:a16="http://schemas.microsoft.com/office/drawing/2014/main" val="964085543"/>
                    </a:ext>
                  </a:extLst>
                </a:gridCol>
              </a:tblGrid>
              <a:tr h="34769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60983541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eet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27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85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4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72539219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16922436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ID PO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62542084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Sales Demo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6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75804194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Rental Demo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4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97448921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site Page views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06,0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95,83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28,08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08039332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575416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Machine Counts(in </a:t>
                      </a:r>
                      <a:r>
                        <a:rPr lang="en-IN" sz="14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)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5068889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liday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52324078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e trend</a:t>
                      </a: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852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vid</a:t>
                      </a:r>
                      <a:endParaRPr lang="en-IN" sz="14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97316888"/>
                  </a:ext>
                </a:extLst>
              </a:tr>
            </a:tbl>
          </a:graphicData>
        </a:graphic>
      </p:graphicFrame>
      <p:sp>
        <p:nvSpPr>
          <p:cNvPr id="6" name="Rounded Rectangle 33">
            <a:extLst>
              <a:ext uri="{FF2B5EF4-FFF2-40B4-BE49-F238E27FC236}">
                <a16:creationId xmlns:a16="http://schemas.microsoft.com/office/drawing/2014/main" id="{83DD043B-EF0D-4058-B51A-2377553A99FE}"/>
              </a:ext>
            </a:extLst>
          </p:cNvPr>
          <p:cNvSpPr/>
          <p:nvPr/>
        </p:nvSpPr>
        <p:spPr>
          <a:xfrm>
            <a:off x="6012906" y="1793544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38% </a:t>
            </a:r>
          </a:p>
        </p:txBody>
      </p:sp>
      <p:sp>
        <p:nvSpPr>
          <p:cNvPr id="7" name="Rounded Rectangle 33">
            <a:extLst>
              <a:ext uri="{FF2B5EF4-FFF2-40B4-BE49-F238E27FC236}">
                <a16:creationId xmlns:a16="http://schemas.microsoft.com/office/drawing/2014/main" id="{6966C769-2528-46F0-A9B5-F1D64746A5F1}"/>
              </a:ext>
            </a:extLst>
          </p:cNvPr>
          <p:cNvSpPr/>
          <p:nvPr/>
        </p:nvSpPr>
        <p:spPr>
          <a:xfrm>
            <a:off x="6012906" y="2546608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63%</a:t>
            </a:r>
            <a:endParaRPr lang="en-GB" sz="12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ounded Rectangle 33">
            <a:extLst>
              <a:ext uri="{FF2B5EF4-FFF2-40B4-BE49-F238E27FC236}">
                <a16:creationId xmlns:a16="http://schemas.microsoft.com/office/drawing/2014/main" id="{CD90FF4B-453F-4B8D-A90E-FC6427EAA920}"/>
              </a:ext>
            </a:extLst>
          </p:cNvPr>
          <p:cNvSpPr/>
          <p:nvPr/>
        </p:nvSpPr>
        <p:spPr>
          <a:xfrm>
            <a:off x="6012906" y="292314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75% </a:t>
            </a:r>
          </a:p>
        </p:txBody>
      </p:sp>
      <p:sp>
        <p:nvSpPr>
          <p:cNvPr id="9" name="Rounded Rectangle 33">
            <a:extLst>
              <a:ext uri="{FF2B5EF4-FFF2-40B4-BE49-F238E27FC236}">
                <a16:creationId xmlns:a16="http://schemas.microsoft.com/office/drawing/2014/main" id="{047F6487-5F25-473B-9C88-9D6CF5E335EF}"/>
              </a:ext>
            </a:extLst>
          </p:cNvPr>
          <p:cNvSpPr/>
          <p:nvPr/>
        </p:nvSpPr>
        <p:spPr>
          <a:xfrm>
            <a:off x="6012906" y="3299672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65% </a:t>
            </a: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2B4FA931-6C19-4176-BAF9-C1393578CF93}"/>
              </a:ext>
            </a:extLst>
          </p:cNvPr>
          <p:cNvSpPr/>
          <p:nvPr/>
        </p:nvSpPr>
        <p:spPr>
          <a:xfrm>
            <a:off x="6012906" y="3676204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18% </a:t>
            </a:r>
          </a:p>
        </p:txBody>
      </p:sp>
      <p:sp>
        <p:nvSpPr>
          <p:cNvPr id="11" name="Rounded Rectangle 33">
            <a:extLst>
              <a:ext uri="{FF2B5EF4-FFF2-40B4-BE49-F238E27FC236}">
                <a16:creationId xmlns:a16="http://schemas.microsoft.com/office/drawing/2014/main" id="{30EF9746-CB0B-486A-88C6-5E2E4BE82218}"/>
              </a:ext>
            </a:extLst>
          </p:cNvPr>
          <p:cNvSpPr/>
          <p:nvPr/>
        </p:nvSpPr>
        <p:spPr>
          <a:xfrm>
            <a:off x="6012906" y="4052736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48% </a:t>
            </a:r>
          </a:p>
        </p:txBody>
      </p:sp>
      <p:sp>
        <p:nvSpPr>
          <p:cNvPr id="12" name="Rounded Rectangle 33">
            <a:extLst>
              <a:ext uri="{FF2B5EF4-FFF2-40B4-BE49-F238E27FC236}">
                <a16:creationId xmlns:a16="http://schemas.microsoft.com/office/drawing/2014/main" id="{22917912-BBD4-46A2-B394-564FFE1DCC63}"/>
              </a:ext>
            </a:extLst>
          </p:cNvPr>
          <p:cNvSpPr/>
          <p:nvPr/>
        </p:nvSpPr>
        <p:spPr>
          <a:xfrm>
            <a:off x="8320881" y="2543846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-</a:t>
            </a:r>
          </a:p>
        </p:txBody>
      </p:sp>
      <p:sp>
        <p:nvSpPr>
          <p:cNvPr id="13" name="Rounded Rectangle 33">
            <a:extLst>
              <a:ext uri="{FF2B5EF4-FFF2-40B4-BE49-F238E27FC236}">
                <a16:creationId xmlns:a16="http://schemas.microsoft.com/office/drawing/2014/main" id="{C8674950-D12B-44E1-A0C4-9E268D6F290B}"/>
              </a:ext>
            </a:extLst>
          </p:cNvPr>
          <p:cNvSpPr/>
          <p:nvPr/>
        </p:nvSpPr>
        <p:spPr>
          <a:xfrm>
            <a:off x="8320881" y="3669299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4% </a:t>
            </a: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B451AD1C-779A-4A47-95BC-502C1FFAD37F}"/>
              </a:ext>
            </a:extLst>
          </p:cNvPr>
          <p:cNvSpPr/>
          <p:nvPr/>
        </p:nvSpPr>
        <p:spPr>
          <a:xfrm>
            <a:off x="8320881" y="404445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1% </a:t>
            </a:r>
          </a:p>
        </p:txBody>
      </p:sp>
      <p:sp>
        <p:nvSpPr>
          <p:cNvPr id="15" name="Rounded Rectangle 33">
            <a:extLst>
              <a:ext uri="{FF2B5EF4-FFF2-40B4-BE49-F238E27FC236}">
                <a16:creationId xmlns:a16="http://schemas.microsoft.com/office/drawing/2014/main" id="{10D05A16-157E-490B-B6E8-E1B2FAB6FF77}"/>
              </a:ext>
            </a:extLst>
          </p:cNvPr>
          <p:cNvSpPr/>
          <p:nvPr/>
        </p:nvSpPr>
        <p:spPr>
          <a:xfrm>
            <a:off x="6012906" y="4429267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9% </a:t>
            </a:r>
          </a:p>
        </p:txBody>
      </p:sp>
      <p:sp>
        <p:nvSpPr>
          <p:cNvPr id="16" name="Rounded Rectangle 33">
            <a:extLst>
              <a:ext uri="{FF2B5EF4-FFF2-40B4-BE49-F238E27FC236}">
                <a16:creationId xmlns:a16="http://schemas.microsoft.com/office/drawing/2014/main" id="{EEBF8538-74FD-48D6-A5EE-267E761308FC}"/>
              </a:ext>
            </a:extLst>
          </p:cNvPr>
          <p:cNvSpPr/>
          <p:nvPr/>
        </p:nvSpPr>
        <p:spPr>
          <a:xfrm>
            <a:off x="8320881" y="4419600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5% </a:t>
            </a:r>
          </a:p>
        </p:txBody>
      </p:sp>
      <p:sp>
        <p:nvSpPr>
          <p:cNvPr id="17" name="Rounded Rectangle 43">
            <a:extLst>
              <a:ext uri="{FF2B5EF4-FFF2-40B4-BE49-F238E27FC236}">
                <a16:creationId xmlns:a16="http://schemas.microsoft.com/office/drawing/2014/main" id="{3F404AC4-488E-4283-9029-5D660A4727B1}"/>
              </a:ext>
            </a:extLst>
          </p:cNvPr>
          <p:cNvSpPr/>
          <p:nvPr/>
        </p:nvSpPr>
        <p:spPr>
          <a:xfrm>
            <a:off x="8320881" y="1793544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 </a:t>
            </a:r>
          </a:p>
        </p:txBody>
      </p:sp>
      <p:sp>
        <p:nvSpPr>
          <p:cNvPr id="18" name="Rounded Rectangle 43">
            <a:extLst>
              <a:ext uri="{FF2B5EF4-FFF2-40B4-BE49-F238E27FC236}">
                <a16:creationId xmlns:a16="http://schemas.microsoft.com/office/drawing/2014/main" id="{D0848C42-FE21-4CA4-ADA2-287CB9F3DCD9}"/>
              </a:ext>
            </a:extLst>
          </p:cNvPr>
          <p:cNvSpPr/>
          <p:nvPr/>
        </p:nvSpPr>
        <p:spPr>
          <a:xfrm>
            <a:off x="8320881" y="3294148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prstClr val="white"/>
                </a:solidFill>
                <a:latin typeface="Calibri"/>
              </a:rPr>
              <a:t>++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ounded Rectangle 43">
            <a:extLst>
              <a:ext uri="{FF2B5EF4-FFF2-40B4-BE49-F238E27FC236}">
                <a16:creationId xmlns:a16="http://schemas.microsoft.com/office/drawing/2014/main" id="{35FC7427-BF64-4054-8F31-172A63098B8F}"/>
              </a:ext>
            </a:extLst>
          </p:cNvPr>
          <p:cNvSpPr/>
          <p:nvPr/>
        </p:nvSpPr>
        <p:spPr>
          <a:xfrm>
            <a:off x="8320881" y="2918997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+</a:t>
            </a:r>
          </a:p>
        </p:txBody>
      </p:sp>
      <p:sp>
        <p:nvSpPr>
          <p:cNvPr id="20" name="Rounded Rectangle 43">
            <a:extLst>
              <a:ext uri="{FF2B5EF4-FFF2-40B4-BE49-F238E27FC236}">
                <a16:creationId xmlns:a16="http://schemas.microsoft.com/office/drawing/2014/main" id="{775F0FDD-5294-4315-B1BA-AD3201411596}"/>
              </a:ext>
            </a:extLst>
          </p:cNvPr>
          <p:cNvSpPr/>
          <p:nvPr/>
        </p:nvSpPr>
        <p:spPr>
          <a:xfrm>
            <a:off x="6012906" y="2170076"/>
            <a:ext cx="645466" cy="236558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prstClr val="white"/>
                </a:solidFill>
                <a:latin typeface="Calibri"/>
              </a:rPr>
              <a:t>9%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FA5177CD-66D3-4E22-8510-D6FB4C60FB85}"/>
              </a:ext>
            </a:extLst>
          </p:cNvPr>
          <p:cNvSpPr/>
          <p:nvPr/>
        </p:nvSpPr>
        <p:spPr>
          <a:xfrm>
            <a:off x="8320881" y="2168695"/>
            <a:ext cx="645466" cy="23655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prstClr val="white"/>
                </a:solidFill>
                <a:latin typeface="Calibri"/>
              </a:rPr>
              <a:t>-3%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3A8BAA3-522D-4B2A-9514-00D3ED99C92E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4688145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80DF65-4860-450D-A833-DFF017A67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80DF65-4860-450D-A833-DFF017A67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653FEFF-7D1B-45A8-9D34-331BCBEE3F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- Volume by year</a:t>
            </a:r>
          </a:p>
        </p:txBody>
      </p:sp>
      <p:sp>
        <p:nvSpPr>
          <p:cNvPr id="33" name="Slide Number Placeholder 2">
            <a:extLst>
              <a:ext uri="{FF2B5EF4-FFF2-40B4-BE49-F238E27FC236}">
                <a16:creationId xmlns:a16="http://schemas.microsoft.com/office/drawing/2014/main" id="{4D22C72B-88F1-4346-8051-644CE5E82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481" y="6675437"/>
            <a:ext cx="576072" cy="365125"/>
          </a:xfr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15</a:t>
            </a:fld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6FD223-A4CE-43B9-B848-5AC59016F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A3B3BE-BFFF-44A0-8CC1-105C0838654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D600F48-9DD6-4325-B1BA-0133A3F8E0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1055329"/>
              </p:ext>
            </p:extLst>
          </p:nvPr>
        </p:nvGraphicFramePr>
        <p:xfrm>
          <a:off x="1237957" y="762000"/>
          <a:ext cx="9831019" cy="5605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0">
            <a:extLst>
              <a:ext uri="{FF2B5EF4-FFF2-40B4-BE49-F238E27FC236}">
                <a16:creationId xmlns:a16="http://schemas.microsoft.com/office/drawing/2014/main" id="{FCA2322A-E835-45C6-BB7C-1B311DB61501}"/>
              </a:ext>
            </a:extLst>
          </p:cNvPr>
          <p:cNvSpPr/>
          <p:nvPr/>
        </p:nvSpPr>
        <p:spPr>
          <a:xfrm>
            <a:off x="3951356" y="1438275"/>
            <a:ext cx="762000" cy="28467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64.8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794EA4-73DD-449A-BDDE-A57EDD8F05F0}"/>
              </a:ext>
            </a:extLst>
          </p:cNvPr>
          <p:cNvCxnSpPr>
            <a:cxnSpLocks/>
          </p:cNvCxnSpPr>
          <p:nvPr/>
        </p:nvCxnSpPr>
        <p:spPr>
          <a:xfrm flipV="1">
            <a:off x="2986881" y="1580612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623846-CDC3-4EB6-A20D-498FE65EB774}"/>
              </a:ext>
            </a:extLst>
          </p:cNvPr>
          <p:cNvCxnSpPr>
            <a:cxnSpLocks/>
          </p:cNvCxnSpPr>
          <p:nvPr/>
        </p:nvCxnSpPr>
        <p:spPr>
          <a:xfrm>
            <a:off x="2978078" y="1561477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C17B67A-AC9B-4644-9097-5959AA06778B}"/>
              </a:ext>
            </a:extLst>
          </p:cNvPr>
          <p:cNvCxnSpPr>
            <a:cxnSpLocks/>
          </p:cNvCxnSpPr>
          <p:nvPr/>
        </p:nvCxnSpPr>
        <p:spPr>
          <a:xfrm>
            <a:off x="4713356" y="1573002"/>
            <a:ext cx="1397725" cy="761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A7613A-3C74-47D5-8362-2FAECAC21775}"/>
              </a:ext>
            </a:extLst>
          </p:cNvPr>
          <p:cNvCxnSpPr>
            <a:cxnSpLocks/>
          </p:cNvCxnSpPr>
          <p:nvPr/>
        </p:nvCxnSpPr>
        <p:spPr>
          <a:xfrm>
            <a:off x="6111081" y="1606885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6CDCE73-1EDA-4D56-8E85-45FCCF73338E}"/>
              </a:ext>
            </a:extLst>
          </p:cNvPr>
          <p:cNvSpPr txBox="1"/>
          <p:nvPr/>
        </p:nvSpPr>
        <p:spPr>
          <a:xfrm>
            <a:off x="2596323" y="2106860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8,128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66E6F3-41E3-45A9-AD29-C9307772CB7B}"/>
              </a:ext>
            </a:extLst>
          </p:cNvPr>
          <p:cNvSpPr txBox="1"/>
          <p:nvPr/>
        </p:nvSpPr>
        <p:spPr>
          <a:xfrm>
            <a:off x="8844721" y="2147352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3,413</a:t>
            </a: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2FADA60F-1686-4EF4-AEF2-1DD277F55211}"/>
              </a:ext>
            </a:extLst>
          </p:cNvPr>
          <p:cNvSpPr/>
          <p:nvPr/>
        </p:nvSpPr>
        <p:spPr>
          <a:xfrm>
            <a:off x="7285411" y="1469137"/>
            <a:ext cx="762000" cy="28467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0.4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C387E66-3A9C-4814-B218-E3788DC82418}"/>
              </a:ext>
            </a:extLst>
          </p:cNvPr>
          <p:cNvCxnSpPr>
            <a:cxnSpLocks/>
          </p:cNvCxnSpPr>
          <p:nvPr/>
        </p:nvCxnSpPr>
        <p:spPr>
          <a:xfrm flipV="1">
            <a:off x="6320936" y="1611474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7F2A8E-B1B3-4C1C-855C-D8847B0C1D77}"/>
              </a:ext>
            </a:extLst>
          </p:cNvPr>
          <p:cNvCxnSpPr>
            <a:cxnSpLocks/>
          </p:cNvCxnSpPr>
          <p:nvPr/>
        </p:nvCxnSpPr>
        <p:spPr>
          <a:xfrm>
            <a:off x="6312133" y="1592339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45D64D-24DE-4F4B-873B-F64FB12C8F8D}"/>
              </a:ext>
            </a:extLst>
          </p:cNvPr>
          <p:cNvCxnSpPr>
            <a:cxnSpLocks/>
          </p:cNvCxnSpPr>
          <p:nvPr/>
        </p:nvCxnSpPr>
        <p:spPr>
          <a:xfrm>
            <a:off x="8047411" y="1603864"/>
            <a:ext cx="1340270" cy="3021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0A9DC0-94A8-4D17-B333-F61045D699A0}"/>
              </a:ext>
            </a:extLst>
          </p:cNvPr>
          <p:cNvCxnSpPr>
            <a:cxnSpLocks/>
          </p:cNvCxnSpPr>
          <p:nvPr/>
        </p:nvCxnSpPr>
        <p:spPr>
          <a:xfrm>
            <a:off x="9387681" y="1637747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815594E3-8AEF-4842-AB48-A46D781D8061}"/>
              </a:ext>
            </a:extLst>
          </p:cNvPr>
          <p:cNvSpPr txBox="1"/>
          <p:nvPr/>
        </p:nvSpPr>
        <p:spPr>
          <a:xfrm>
            <a:off x="5720522" y="2110891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3,35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F20157B-4D8F-4993-930D-6A03BD30F365}"/>
              </a:ext>
            </a:extLst>
          </p:cNvPr>
          <p:cNvSpPr/>
          <p:nvPr/>
        </p:nvSpPr>
        <p:spPr>
          <a:xfrm>
            <a:off x="5858504" y="5503873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146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085ED37-968C-4C35-B883-B290EC4B917B}"/>
              </a:ext>
            </a:extLst>
          </p:cNvPr>
          <p:cNvSpPr txBox="1"/>
          <p:nvPr/>
        </p:nvSpPr>
        <p:spPr>
          <a:xfrm>
            <a:off x="328535" y="5329535"/>
            <a:ext cx="10829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pends</a:t>
            </a:r>
          </a:p>
          <a:p>
            <a:pPr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Mio. JPY)</a:t>
            </a:r>
            <a:endParaRPr lang="en-GB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18DEDE-137C-4037-A680-5E9E8F88EF6F}"/>
              </a:ext>
            </a:extLst>
          </p:cNvPr>
          <p:cNvSpPr/>
          <p:nvPr/>
        </p:nvSpPr>
        <p:spPr>
          <a:xfrm>
            <a:off x="2462087" y="5503873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prstClr val="black"/>
                </a:solidFill>
              </a:rPr>
              <a:t>308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6876214-F12C-42C5-B285-9DA69DF282D9}"/>
              </a:ext>
            </a:extLst>
          </p:cNvPr>
          <p:cNvSpPr/>
          <p:nvPr/>
        </p:nvSpPr>
        <p:spPr>
          <a:xfrm>
            <a:off x="4254894" y="5516547"/>
            <a:ext cx="731520" cy="274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-52.7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60AA1A9-6822-41E2-AEB3-700FE5960BB1}"/>
              </a:ext>
            </a:extLst>
          </p:cNvPr>
          <p:cNvSpPr/>
          <p:nvPr/>
        </p:nvSpPr>
        <p:spPr>
          <a:xfrm>
            <a:off x="8985262" y="5491199"/>
            <a:ext cx="73152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414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ECC082-CB30-44DE-AF16-2D90EA691AF7}"/>
              </a:ext>
            </a:extLst>
          </p:cNvPr>
          <p:cNvSpPr/>
          <p:nvPr/>
        </p:nvSpPr>
        <p:spPr>
          <a:xfrm>
            <a:off x="7381652" y="5503873"/>
            <a:ext cx="731520" cy="27432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++</a:t>
            </a:r>
            <a:endParaRPr lang="en-GB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526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0163801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5458221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F71BF2-2E57-467E-B50F-C926887FCFB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895359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2334304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1748869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: Static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3C3ED9-2426-4987-9561-70875CA3C5DF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9530061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506553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3280771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 Ad : Video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3C3ED9-2426-4987-9561-70875CA3C5DF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28129468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C3A30755-DCF4-4E6C-9E10-17E711B63E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3270776"/>
              </p:ext>
            </p:extLst>
          </p:nvPr>
        </p:nvGraphicFramePr>
        <p:xfrm>
          <a:off x="242889" y="1466849"/>
          <a:ext cx="11506200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14E7DC9C-6512-461A-B255-9BE1EC56FD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6072170"/>
              </p:ext>
            </p:extLst>
          </p:nvPr>
        </p:nvGraphicFramePr>
        <p:xfrm>
          <a:off x="6316663" y="1466849"/>
          <a:ext cx="5634759" cy="485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E17F8-81BD-4AF7-AA11-E0BFB0A9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0E9F78-CCA6-4AAF-93FC-2B0AD82E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Ad Volume by year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733D87-271C-454C-9564-6C885FA18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31E732-F705-46A7-8963-8652CC9955E9}"/>
              </a:ext>
            </a:extLst>
          </p:cNvPr>
          <p:cNvCxnSpPr>
            <a:cxnSpLocks/>
          </p:cNvCxnSpPr>
          <p:nvPr/>
        </p:nvCxnSpPr>
        <p:spPr>
          <a:xfrm>
            <a:off x="6097156" y="1513354"/>
            <a:ext cx="0" cy="42136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AF891D0-8BC8-4692-A015-49F94AF25F2D}"/>
              </a:ext>
            </a:extLst>
          </p:cNvPr>
          <p:cNvSpPr txBox="1"/>
          <p:nvPr/>
        </p:nvSpPr>
        <p:spPr>
          <a:xfrm>
            <a:off x="8549481" y="1143000"/>
            <a:ext cx="1690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Incremental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479FFC-C7EE-41A7-8B27-FB27CD1AB822}"/>
              </a:ext>
            </a:extLst>
          </p:cNvPr>
          <p:cNvSpPr txBox="1"/>
          <p:nvPr/>
        </p:nvSpPr>
        <p:spPr>
          <a:xfrm>
            <a:off x="2116838" y="1143000"/>
            <a:ext cx="192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1" dirty="0"/>
              <a:t>% Contribution to Sa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F71BF2-2E57-467E-B50F-C926887FCFB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339911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4EEBB2-5882-4B4F-8D0A-814A14362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74787B9-44B1-4014-A103-9558F1A59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ject Sco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67C7BE-F134-47CE-816C-99721D12B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6" name="Rounded Rectangle 7">
            <a:extLst>
              <a:ext uri="{FF2B5EF4-FFF2-40B4-BE49-F238E27FC236}">
                <a16:creationId xmlns:a16="http://schemas.microsoft.com/office/drawing/2014/main" id="{E83A080E-55C2-4795-A59D-53DC813030D1}"/>
              </a:ext>
            </a:extLst>
          </p:cNvPr>
          <p:cNvSpPr/>
          <p:nvPr/>
        </p:nvSpPr>
        <p:spPr>
          <a:xfrm>
            <a:off x="276267" y="1940833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 Bran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ounded Rectangle 9">
            <a:extLst>
              <a:ext uri="{FF2B5EF4-FFF2-40B4-BE49-F238E27FC236}">
                <a16:creationId xmlns:a16="http://schemas.microsoft.com/office/drawing/2014/main" id="{5211A7A5-4A71-42C5-A10C-2B2AA90759C4}"/>
              </a:ext>
            </a:extLst>
          </p:cNvPr>
          <p:cNvSpPr/>
          <p:nvPr/>
        </p:nvSpPr>
        <p:spPr>
          <a:xfrm>
            <a:off x="276267" y="1313794"/>
            <a:ext cx="1457940" cy="50467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acteristics</a:t>
            </a:r>
          </a:p>
        </p:txBody>
      </p:sp>
      <p:sp>
        <p:nvSpPr>
          <p:cNvPr id="8" name="Rounded Rectangle 10">
            <a:extLst>
              <a:ext uri="{FF2B5EF4-FFF2-40B4-BE49-F238E27FC236}">
                <a16:creationId xmlns:a16="http://schemas.microsoft.com/office/drawing/2014/main" id="{CD5347BA-B527-46A0-8802-50993A5EF8E7}"/>
              </a:ext>
            </a:extLst>
          </p:cNvPr>
          <p:cNvSpPr/>
          <p:nvPr/>
        </p:nvSpPr>
        <p:spPr>
          <a:xfrm>
            <a:off x="1879938" y="1313793"/>
            <a:ext cx="9936531" cy="50467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ails</a:t>
            </a: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C7EBBCEC-1B33-45BA-ADDD-C2EB93A50C41}"/>
              </a:ext>
            </a:extLst>
          </p:cNvPr>
          <p:cNvSpPr/>
          <p:nvPr/>
        </p:nvSpPr>
        <p:spPr>
          <a:xfrm>
            <a:off x="276267" y="2567872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nularity</a:t>
            </a:r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752B6F8A-0FD5-414F-939F-21F200B8F120}"/>
              </a:ext>
            </a:extLst>
          </p:cNvPr>
          <p:cNvSpPr/>
          <p:nvPr/>
        </p:nvSpPr>
        <p:spPr>
          <a:xfrm>
            <a:off x="276267" y="3194911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Breakdow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ounded Rectangle 22">
            <a:extLst>
              <a:ext uri="{FF2B5EF4-FFF2-40B4-BE49-F238E27FC236}">
                <a16:creationId xmlns:a16="http://schemas.microsoft.com/office/drawing/2014/main" id="{9265A5D8-CEEA-4173-BD93-C07580EFF0B7}"/>
              </a:ext>
            </a:extLst>
          </p:cNvPr>
          <p:cNvSpPr/>
          <p:nvPr/>
        </p:nvSpPr>
        <p:spPr>
          <a:xfrm>
            <a:off x="276267" y="3821950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Perio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ounded Rectangle 27">
            <a:extLst>
              <a:ext uri="{FF2B5EF4-FFF2-40B4-BE49-F238E27FC236}">
                <a16:creationId xmlns:a16="http://schemas.microsoft.com/office/drawing/2014/main" id="{6CA24D8D-5DC5-4430-804C-211479FA1441}"/>
              </a:ext>
            </a:extLst>
          </p:cNvPr>
          <p:cNvSpPr/>
          <p:nvPr/>
        </p:nvSpPr>
        <p:spPr>
          <a:xfrm>
            <a:off x="276267" y="4448989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endent Variabl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ounded Rectangle 30">
            <a:extLst>
              <a:ext uri="{FF2B5EF4-FFF2-40B4-BE49-F238E27FC236}">
                <a16:creationId xmlns:a16="http://schemas.microsoft.com/office/drawing/2014/main" id="{0B88FBD3-DA2E-444D-BC0F-DA67D632E19D}"/>
              </a:ext>
            </a:extLst>
          </p:cNvPr>
          <p:cNvSpPr/>
          <p:nvPr/>
        </p:nvSpPr>
        <p:spPr>
          <a:xfrm>
            <a:off x="276267" y="5076028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ependent Variabl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0CF10DB3-0D39-424E-97CD-E62E85392744}"/>
              </a:ext>
            </a:extLst>
          </p:cNvPr>
          <p:cNvSpPr/>
          <p:nvPr/>
        </p:nvSpPr>
        <p:spPr>
          <a:xfrm>
            <a:off x="276267" y="5703067"/>
            <a:ext cx="1457940" cy="504678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orting Results</a:t>
            </a:r>
          </a:p>
        </p:txBody>
      </p:sp>
      <p:sp>
        <p:nvSpPr>
          <p:cNvPr id="15" name="Rounded Rectangle 8">
            <a:extLst>
              <a:ext uri="{FF2B5EF4-FFF2-40B4-BE49-F238E27FC236}">
                <a16:creationId xmlns:a16="http://schemas.microsoft.com/office/drawing/2014/main" id="{C46EF825-82DD-4A1D-B6E8-A4CE47310BB7}"/>
              </a:ext>
            </a:extLst>
          </p:cNvPr>
          <p:cNvSpPr/>
          <p:nvPr/>
        </p:nvSpPr>
        <p:spPr>
          <a:xfrm>
            <a:off x="1879938" y="1948703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stle Dolce Gusto (NDG)</a:t>
            </a: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EE8997A7-6E7C-45C3-A3F0-0D927086E623}"/>
              </a:ext>
            </a:extLst>
          </p:cNvPr>
          <p:cNvSpPr/>
          <p:nvPr/>
        </p:nvSpPr>
        <p:spPr>
          <a:xfrm>
            <a:off x="1879938" y="2583613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Level</a:t>
            </a:r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182080C5-39DA-4CE3-A245-DE84A6E2DEB3}"/>
              </a:ext>
            </a:extLst>
          </p:cNvPr>
          <p:cNvSpPr/>
          <p:nvPr/>
        </p:nvSpPr>
        <p:spPr>
          <a:xfrm>
            <a:off x="1879939" y="3218523"/>
            <a:ext cx="4853952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Japan</a:t>
            </a:r>
          </a:p>
        </p:txBody>
      </p:sp>
      <p:sp>
        <p:nvSpPr>
          <p:cNvPr id="18" name="Rounded Rectangle 16">
            <a:extLst>
              <a:ext uri="{FF2B5EF4-FFF2-40B4-BE49-F238E27FC236}">
                <a16:creationId xmlns:a16="http://schemas.microsoft.com/office/drawing/2014/main" id="{EC50313E-35AD-420C-90CA-768195B3DF42}"/>
              </a:ext>
            </a:extLst>
          </p:cNvPr>
          <p:cNvSpPr/>
          <p:nvPr/>
        </p:nvSpPr>
        <p:spPr>
          <a:xfrm>
            <a:off x="6842537" y="3218523"/>
            <a:ext cx="4973934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ons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</a:t>
            </a:r>
          </a:p>
        </p:txBody>
      </p:sp>
      <p:sp>
        <p:nvSpPr>
          <p:cNvPr id="19" name="Rounded Rectangle 28">
            <a:extLst>
              <a:ext uri="{FF2B5EF4-FFF2-40B4-BE49-F238E27FC236}">
                <a16:creationId xmlns:a16="http://schemas.microsoft.com/office/drawing/2014/main" id="{77204AAD-9AB3-49CE-87BD-2C6FB8FC899A}"/>
              </a:ext>
            </a:extLst>
          </p:cNvPr>
          <p:cNvSpPr/>
          <p:nvPr/>
        </p:nvSpPr>
        <p:spPr>
          <a:xfrm>
            <a:off x="1879938" y="4433249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Machine Sales</a:t>
            </a:r>
          </a:p>
        </p:txBody>
      </p:sp>
      <p:sp>
        <p:nvSpPr>
          <p:cNvPr id="20" name="Rounded Rectangle 31">
            <a:extLst>
              <a:ext uri="{FF2B5EF4-FFF2-40B4-BE49-F238E27FC236}">
                <a16:creationId xmlns:a16="http://schemas.microsoft.com/office/drawing/2014/main" id="{BF365F81-D6B5-4070-A879-C607379739D0}"/>
              </a:ext>
            </a:extLst>
          </p:cNvPr>
          <p:cNvSpPr/>
          <p:nvPr/>
        </p:nvSpPr>
        <p:spPr>
          <a:xfrm>
            <a:off x="1879938" y="5068159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mulative Machine Counts, Website, Tweet Counts, Aided Awareness, Temperature, TV,  Digital Media, Trade etc. </a:t>
            </a:r>
          </a:p>
        </p:txBody>
      </p:sp>
      <p:sp>
        <p:nvSpPr>
          <p:cNvPr id="21" name="Rounded Rectangle 34">
            <a:extLst>
              <a:ext uri="{FF2B5EF4-FFF2-40B4-BE49-F238E27FC236}">
                <a16:creationId xmlns:a16="http://schemas.microsoft.com/office/drawing/2014/main" id="{2ACBC612-7150-4632-AE22-38007B0DFE75}"/>
              </a:ext>
            </a:extLst>
          </p:cNvPr>
          <p:cNvSpPr/>
          <p:nvPr/>
        </p:nvSpPr>
        <p:spPr>
          <a:xfrm>
            <a:off x="1879938" y="5703067"/>
            <a:ext cx="9936531" cy="50467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l Results, Due-to, ROI and Simulation</a:t>
            </a:r>
          </a:p>
        </p:txBody>
      </p:sp>
      <p:sp>
        <p:nvSpPr>
          <p:cNvPr id="24" name="Rounded Rectangle 24">
            <a:extLst>
              <a:ext uri="{FF2B5EF4-FFF2-40B4-BE49-F238E27FC236}">
                <a16:creationId xmlns:a16="http://schemas.microsoft.com/office/drawing/2014/main" id="{D3ABAF29-4E4E-4D36-917F-5F56D7137C63}"/>
              </a:ext>
            </a:extLst>
          </p:cNvPr>
          <p:cNvSpPr/>
          <p:nvPr/>
        </p:nvSpPr>
        <p:spPr>
          <a:xfrm>
            <a:off x="1879939" y="3853433"/>
            <a:ext cx="1639603" cy="44958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-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30/2019</a:t>
            </a:r>
          </a:p>
        </p:txBody>
      </p:sp>
      <p:sp>
        <p:nvSpPr>
          <p:cNvPr id="25" name="Rounded Rectangle 25">
            <a:extLst>
              <a:ext uri="{FF2B5EF4-FFF2-40B4-BE49-F238E27FC236}">
                <a16:creationId xmlns:a16="http://schemas.microsoft.com/office/drawing/2014/main" id="{E39D9A25-4BAC-4634-80D8-1CFC9652634C}"/>
              </a:ext>
            </a:extLst>
          </p:cNvPr>
          <p:cNvSpPr/>
          <p:nvPr/>
        </p:nvSpPr>
        <p:spPr>
          <a:xfrm>
            <a:off x="3713870" y="3853433"/>
            <a:ext cx="1676400" cy="44958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28/2020</a:t>
            </a:r>
          </a:p>
        </p:txBody>
      </p:sp>
      <p:sp>
        <p:nvSpPr>
          <p:cNvPr id="26" name="Rounded Rectangle 35">
            <a:extLst>
              <a:ext uri="{FF2B5EF4-FFF2-40B4-BE49-F238E27FC236}">
                <a16:creationId xmlns:a16="http://schemas.microsoft.com/office/drawing/2014/main" id="{E0C3A2F3-3545-430E-AC18-D94877A3ED21}"/>
              </a:ext>
            </a:extLst>
          </p:cNvPr>
          <p:cNvSpPr/>
          <p:nvPr/>
        </p:nvSpPr>
        <p:spPr>
          <a:xfrm>
            <a:off x="5517270" y="3844219"/>
            <a:ext cx="1676400" cy="45879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2 WE 12/27/2021</a:t>
            </a:r>
          </a:p>
        </p:txBody>
      </p:sp>
      <p:sp>
        <p:nvSpPr>
          <p:cNvPr id="23" name="Rounded Rectangle 26">
            <a:extLst>
              <a:ext uri="{FF2B5EF4-FFF2-40B4-BE49-F238E27FC236}">
                <a16:creationId xmlns:a16="http://schemas.microsoft.com/office/drawing/2014/main" id="{A7C6E111-4E39-4D64-898A-33167E7FB0E5}"/>
              </a:ext>
            </a:extLst>
          </p:cNvPr>
          <p:cNvSpPr/>
          <p:nvPr/>
        </p:nvSpPr>
        <p:spPr>
          <a:xfrm>
            <a:off x="7320669" y="3856128"/>
            <a:ext cx="4495801" cy="44688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Analys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156 Wee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[ 12/31/2018 – 12/27/2021]</a:t>
            </a:r>
          </a:p>
        </p:txBody>
      </p:sp>
    </p:spTree>
    <p:extLst>
      <p:ext uri="{BB962C8B-B14F-4D97-AF65-F5344CB8AC3E}">
        <p14:creationId xmlns:p14="http://schemas.microsoft.com/office/powerpoint/2010/main" val="22894869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43586F-54BF-4504-9D00-CC2D901867AC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C061AD-F0E4-4F79-BFAC-A66CA8086593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Efficiency</a:t>
            </a:r>
          </a:p>
        </p:txBody>
      </p:sp>
    </p:spTree>
    <p:extLst>
      <p:ext uri="{BB962C8B-B14F-4D97-AF65-F5344CB8AC3E}">
        <p14:creationId xmlns:p14="http://schemas.microsoft.com/office/powerpoint/2010/main" val="2468683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tatic remained to be the most efficient media for NDG due to its lower cost compared to the other media tactics. 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5314650"/>
              </p:ext>
            </p:extLst>
          </p:nvPr>
        </p:nvGraphicFramePr>
        <p:xfrm>
          <a:off x="1217305" y="1371600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182342"/>
              </p:ext>
            </p:extLst>
          </p:nvPr>
        </p:nvGraphicFramePr>
        <p:xfrm>
          <a:off x="316501" y="4343400"/>
          <a:ext cx="10823779" cy="174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4769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788890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854631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854631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769208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769208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1212561955"/>
                    </a:ext>
                  </a:extLst>
                </a:gridCol>
                <a:gridCol w="841443">
                  <a:extLst>
                    <a:ext uri="{9D8B030D-6E8A-4147-A177-3AD203B41FA5}">
                      <a16:colId xmlns:a16="http://schemas.microsoft.com/office/drawing/2014/main" val="3299618754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5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6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marL="0" algn="ctr" defTabSz="905256" rtl="0" eaLnBrk="1" fontAlgn="b" latinLnBrk="0" hangingPunct="1"/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9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1,92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C496DDA-3C84-4E7B-9D15-03CCC465880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66EFA5-6274-4FCD-8C8D-7735B314B4ED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M JAP YEN]</a:t>
            </a:r>
          </a:p>
        </p:txBody>
      </p:sp>
    </p:spTree>
    <p:extLst>
      <p:ext uri="{BB962C8B-B14F-4D97-AF65-F5344CB8AC3E}">
        <p14:creationId xmlns:p14="http://schemas.microsoft.com/office/powerpoint/2010/main" val="7810177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Static -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2562494"/>
              </p:ext>
            </p:extLst>
          </p:nvPr>
        </p:nvGraphicFramePr>
        <p:xfrm>
          <a:off x="1217305" y="1555614"/>
          <a:ext cx="9922976" cy="3016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396060"/>
              </p:ext>
            </p:extLst>
          </p:nvPr>
        </p:nvGraphicFramePr>
        <p:xfrm>
          <a:off x="462204" y="4495800"/>
          <a:ext cx="10830481" cy="17498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3381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15487353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63475210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41828632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4281920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213863633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8425645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96445052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0248760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3464468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8846674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7781371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9864150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5385462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77424134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13335395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549436272"/>
                    </a:ext>
                  </a:extLst>
                </a:gridCol>
              </a:tblGrid>
              <a:tr h="259702">
                <a:tc>
                  <a:txBody>
                    <a:bodyPr/>
                    <a:lstStyle/>
                    <a:p>
                      <a:pPr algn="ctr" fontAlgn="b"/>
                      <a:endParaRPr lang="en-US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V 36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artnews</a:t>
                      </a:r>
                      <a:endParaRPr kumimoji="0" lang="en-US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kumimoji="0" lang="en-US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ahoo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317433"/>
                  </a:ext>
                </a:extLst>
              </a:tr>
              <a:tr h="331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s </a:t>
                      </a:r>
                    </a:p>
                    <a:p>
                      <a:pPr algn="ctr" fontAlgn="b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5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91E8495-7483-49F4-BCE9-ABED7C6DA55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D2045D7-AAFD-478C-832A-937661395ACC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M JAP YEN]</a:t>
            </a:r>
          </a:p>
        </p:txBody>
      </p:sp>
    </p:spTree>
    <p:extLst>
      <p:ext uri="{BB962C8B-B14F-4D97-AF65-F5344CB8AC3E}">
        <p14:creationId xmlns:p14="http://schemas.microsoft.com/office/powerpoint/2010/main" val="13419941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Video- Effici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6548911"/>
              </p:ext>
            </p:extLst>
          </p:nvPr>
        </p:nvGraphicFramePr>
        <p:xfrm>
          <a:off x="1217305" y="1699251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398533" y="1283069"/>
            <a:ext cx="169937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iency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5474735"/>
              </p:ext>
            </p:extLst>
          </p:nvPr>
        </p:nvGraphicFramePr>
        <p:xfrm>
          <a:off x="468909" y="4648200"/>
          <a:ext cx="10823772" cy="14205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3580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3321160802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994350331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476256708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2607933860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1898113509"/>
                    </a:ext>
                  </a:extLst>
                </a:gridCol>
                <a:gridCol w="617512">
                  <a:extLst>
                    <a:ext uri="{9D8B030D-6E8A-4147-A177-3AD203B41FA5}">
                      <a16:colId xmlns:a16="http://schemas.microsoft.com/office/drawing/2014/main" val="607983111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nds</a:t>
                      </a:r>
                    </a:p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1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JPY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PM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4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875432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0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7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B43D11D-D014-43A6-A55D-0E589C0DC29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233B02-453D-4149-80EB-B6EC5F6644A3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iciency [ </a:t>
            </a:r>
            <a:r>
              <a:rPr lang="en-IN" sz="1000" dirty="0" err="1"/>
              <a:t>Incr</a:t>
            </a:r>
            <a:r>
              <a:rPr lang="en-IN" sz="1000" dirty="0"/>
              <a:t> sale per 1M JAP YEN]</a:t>
            </a:r>
          </a:p>
        </p:txBody>
      </p:sp>
    </p:spTree>
    <p:extLst>
      <p:ext uri="{BB962C8B-B14F-4D97-AF65-F5344CB8AC3E}">
        <p14:creationId xmlns:p14="http://schemas.microsoft.com/office/powerpoint/2010/main" val="12663763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19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3186391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3" name="グループ化 11">
            <a:extLst>
              <a:ext uri="{FF2B5EF4-FFF2-40B4-BE49-F238E27FC236}">
                <a16:creationId xmlns:a16="http://schemas.microsoft.com/office/drawing/2014/main" id="{2048EA90-5CBA-44F6-B95A-4B31C4A6A1B1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4" name="グループ化 12">
              <a:extLst>
                <a:ext uri="{FF2B5EF4-FFF2-40B4-BE49-F238E27FC236}">
                  <a16:creationId xmlns:a16="http://schemas.microsoft.com/office/drawing/2014/main" id="{D7DD221F-2374-460E-AD98-E48E9EBB6579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6" name="Rectangle 4">
                <a:extLst>
                  <a:ext uri="{FF2B5EF4-FFF2-40B4-BE49-F238E27FC236}">
                    <a16:creationId xmlns:a16="http://schemas.microsoft.com/office/drawing/2014/main" id="{E965C6E9-49C6-41CB-B630-A10CCA757F46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26CBC8DD-0908-4B0C-A595-2918E2DC06C9}"/>
                  </a:ext>
                </a:extLst>
              </p:cNvPr>
              <p:cNvSpPr/>
              <p:nvPr/>
            </p:nvSpPr>
            <p:spPr>
              <a:xfrm>
                <a:off x="9695696" y="1431240"/>
                <a:ext cx="1106690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Sales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9E808D58-0A71-4256-A61C-48C35873FD04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19" name="直線コネクタ 17">
                <a:extLst>
                  <a:ext uri="{FF2B5EF4-FFF2-40B4-BE49-F238E27FC236}">
                    <a16:creationId xmlns:a16="http://schemas.microsoft.com/office/drawing/2014/main" id="{E965545F-332D-4B3E-990A-22A16E956E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正方形/長方形 13">
              <a:extLst>
                <a:ext uri="{FF2B5EF4-FFF2-40B4-BE49-F238E27FC236}">
                  <a16:creationId xmlns:a16="http://schemas.microsoft.com/office/drawing/2014/main" id="{2682F162-E948-4B75-BB21-659CC35680E7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1F765F1-69F0-427E-BD58-DBC889D0B2A7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728679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20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3428107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グループ化 11">
            <a:extLst>
              <a:ext uri="{FF2B5EF4-FFF2-40B4-BE49-F238E27FC236}">
                <a16:creationId xmlns:a16="http://schemas.microsoft.com/office/drawing/2014/main" id="{7A758828-CEFC-4C43-A92C-E121A46526FA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7" name="グループ化 12">
              <a:extLst>
                <a:ext uri="{FF2B5EF4-FFF2-40B4-BE49-F238E27FC236}">
                  <a16:creationId xmlns:a16="http://schemas.microsoft.com/office/drawing/2014/main" id="{E5BBC822-7752-469B-A43C-5D1EB596A304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6E5E6005-9669-49A6-B8D9-06F3F512B72B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0" name="Rectangle 4">
                <a:extLst>
                  <a:ext uri="{FF2B5EF4-FFF2-40B4-BE49-F238E27FC236}">
                    <a16:creationId xmlns:a16="http://schemas.microsoft.com/office/drawing/2014/main" id="{DFDE3EA9-13DE-41E1-A143-9B3F8F0A41E5}"/>
                  </a:ext>
                </a:extLst>
              </p:cNvPr>
              <p:cNvSpPr/>
              <p:nvPr/>
            </p:nvSpPr>
            <p:spPr>
              <a:xfrm>
                <a:off x="9695696" y="1431240"/>
                <a:ext cx="1106690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Sales</a:t>
                </a:r>
              </a:p>
            </p:txBody>
          </p:sp>
          <p:sp>
            <p:nvSpPr>
              <p:cNvPr id="11" name="Rectangle 4">
                <a:extLst>
                  <a:ext uri="{FF2B5EF4-FFF2-40B4-BE49-F238E27FC236}">
                    <a16:creationId xmlns:a16="http://schemas.microsoft.com/office/drawing/2014/main" id="{98DFABC2-572E-43DB-AB3B-3818517E71B7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12" name="直線コネクタ 17">
                <a:extLst>
                  <a:ext uri="{FF2B5EF4-FFF2-40B4-BE49-F238E27FC236}">
                    <a16:creationId xmlns:a16="http://schemas.microsoft.com/office/drawing/2014/main" id="{2903CD5B-F2BF-477C-96DC-BB36DBEA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正方形/長方形 13">
              <a:extLst>
                <a:ext uri="{FF2B5EF4-FFF2-40B4-BE49-F238E27FC236}">
                  <a16:creationId xmlns:a16="http://schemas.microsoft.com/office/drawing/2014/main" id="{4CCC5330-AC1F-44DE-9C0B-6B13BAD3822B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2F17700-CB68-439D-9999-D76F3A599DB4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16713815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3341707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95696" y="1431240"/>
                <a:ext cx="1106690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Sale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53D82D2-3393-4584-8CEE-7D7830D0C3CD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4305066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19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142101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95696" y="1431240"/>
                <a:ext cx="1106690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Sale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FDBC35DE-C5D1-4A07-8B45-58E389E4ED63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8493362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8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20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0058679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95696" y="1431240"/>
                <a:ext cx="1106690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Sale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72497CC-25B7-4050-A615-D79F1F2EE4C9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5476535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Static)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8068158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95696" y="1431240"/>
                <a:ext cx="1106690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Sale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33E9619-8F53-4C01-B63D-574E9ADA866D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4212951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FEE86-00E5-4FEA-8EA3-4E5EB7826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649F04-C912-4DBF-8225-DAD59E688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Inputs: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D73C8A-2383-4C6D-BA67-DAAFD0ABD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5" name="Rounded Rectangle 34">
            <a:extLst>
              <a:ext uri="{FF2B5EF4-FFF2-40B4-BE49-F238E27FC236}">
                <a16:creationId xmlns:a16="http://schemas.microsoft.com/office/drawing/2014/main" id="{09DD6FA2-3B69-4769-B3C6-D2029CCC8E2F}"/>
              </a:ext>
            </a:extLst>
          </p:cNvPr>
          <p:cNvSpPr/>
          <p:nvPr/>
        </p:nvSpPr>
        <p:spPr>
          <a:xfrm>
            <a:off x="5966753" y="1219200"/>
            <a:ext cx="3878128" cy="22860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A68E1A8-BF24-4E08-92CC-07BDD31401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0772068"/>
              </p:ext>
            </p:extLst>
          </p:nvPr>
        </p:nvGraphicFramePr>
        <p:xfrm>
          <a:off x="5966753" y="1447800"/>
          <a:ext cx="3878128" cy="3177864"/>
        </p:xfrm>
        <a:graphic>
          <a:graphicData uri="http://schemas.openxmlformats.org/drawingml/2006/table">
            <a:tbl>
              <a:tblPr bandRow="1"/>
              <a:tblGrid>
                <a:gridCol w="15159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3686010869"/>
                    </a:ext>
                  </a:extLst>
                </a:gridCol>
              </a:tblGrid>
              <a:tr h="229220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Variables Used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ata Definition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ee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unt of Tweet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 Intent </a:t>
                      </a: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 %</a:t>
                      </a:r>
                      <a:endParaRPr lang="en-IN" sz="1000" dirty="0">
                        <a:latin typeface="+mn-lt"/>
                        <a:cs typeface="Arial" pitchFamily="34" charset="0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946395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ID PO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event ID PO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51664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Sales De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event sale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229778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ore Rental De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ore Rental Demo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86401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site P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p Page View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851636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renes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eness for NDG in %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41817"/>
                  </a:ext>
                </a:extLst>
              </a:tr>
              <a:tr h="27367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mulative Machine Cou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Number of Applicants to Date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912568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mperatur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grees Celsius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073157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lid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155872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</a:t>
                      </a: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000" dirty="0">
                        <a:latin typeface="+mn-lt"/>
                        <a:cs typeface="Arial" pitchFamily="34" charset="0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350792"/>
                  </a:ext>
                </a:extLst>
              </a:tr>
              <a:tr h="22922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e tren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9615" marR="89615" marT="44808" marB="4480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30497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ACDDFE0-0082-4097-99F9-EF705E97B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285793"/>
              </p:ext>
            </p:extLst>
          </p:nvPr>
        </p:nvGraphicFramePr>
        <p:xfrm>
          <a:off x="1084881" y="1447800"/>
          <a:ext cx="4114800" cy="5077320"/>
        </p:xfrm>
        <a:graphic>
          <a:graphicData uri="http://schemas.openxmlformats.org/drawingml/2006/table">
            <a:tbl>
              <a:tblPr bandRow="1"/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87138991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680127100"/>
                    </a:ext>
                  </a:extLst>
                </a:gridCol>
              </a:tblGrid>
              <a:tr h="211555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Category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Variables Use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1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ata Defini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V360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B 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89812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612744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693757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 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1819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rt ne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72010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75417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058069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ahoo SPBP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311725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100020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19432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9452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mium Vie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22589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385428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e vie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25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er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649543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281627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W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94555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S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ession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005831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F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504783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nd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288939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 Spo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P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34042"/>
                  </a:ext>
                </a:extLst>
              </a:tr>
              <a:tr h="2115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 Tim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  <a:cs typeface="Arial" pitchFamily="34" charset="0"/>
                        </a:rPr>
                        <a:t>GRP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450780"/>
                  </a:ext>
                </a:extLst>
              </a:tr>
            </a:tbl>
          </a:graphicData>
        </a:graphic>
      </p:graphicFrame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19C80F06-2139-4F96-8362-FFFB1A1E641D}"/>
              </a:ext>
            </a:extLst>
          </p:cNvPr>
          <p:cNvSpPr/>
          <p:nvPr/>
        </p:nvSpPr>
        <p:spPr>
          <a:xfrm>
            <a:off x="1084881" y="1219201"/>
            <a:ext cx="4114800" cy="20625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wn Ad</a:t>
            </a:r>
          </a:p>
        </p:txBody>
      </p:sp>
      <p:sp>
        <p:nvSpPr>
          <p:cNvPr id="12" name="Text Placeholder 36">
            <a:extLst>
              <a:ext uri="{FF2B5EF4-FFF2-40B4-BE49-F238E27FC236}">
                <a16:creationId xmlns:a16="http://schemas.microsoft.com/office/drawing/2014/main" id="{A3D6187A-6928-467E-A885-645BEAAF0262}"/>
              </a:ext>
            </a:extLst>
          </p:cNvPr>
          <p:cNvSpPr txBox="1">
            <a:spLocks/>
          </p:cNvSpPr>
          <p:nvPr/>
        </p:nvSpPr>
        <p:spPr>
          <a:xfrm>
            <a:off x="9942744" y="5603925"/>
            <a:ext cx="2127020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33094257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C48E51-66F2-4AA7-849C-573AC160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F558AA-9019-4322-A121-AA338A659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iency and contribution by Own tactics(Video) –2021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1FD2E-F3E3-4E32-A80A-EDDFC1D25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74AD791-429C-403C-9296-807B5FA4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8143366"/>
              </p:ext>
            </p:extLst>
          </p:nvPr>
        </p:nvGraphicFramePr>
        <p:xfrm>
          <a:off x="808768" y="1558690"/>
          <a:ext cx="10603052" cy="4535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グループ化 11">
            <a:extLst>
              <a:ext uri="{FF2B5EF4-FFF2-40B4-BE49-F238E27FC236}">
                <a16:creationId xmlns:a16="http://schemas.microsoft.com/office/drawing/2014/main" id="{1E2F4935-A142-4680-954E-BD59953D9C3F}"/>
              </a:ext>
            </a:extLst>
          </p:cNvPr>
          <p:cNvGrpSpPr/>
          <p:nvPr/>
        </p:nvGrpSpPr>
        <p:grpSpPr>
          <a:xfrm>
            <a:off x="3744525" y="1391293"/>
            <a:ext cx="3814356" cy="553144"/>
            <a:chOff x="8410881" y="1431240"/>
            <a:chExt cx="2787347" cy="564405"/>
          </a:xfrm>
        </p:grpSpPr>
        <p:grpSp>
          <p:nvGrpSpPr>
            <p:cNvPr id="15" name="グループ化 12">
              <a:extLst>
                <a:ext uri="{FF2B5EF4-FFF2-40B4-BE49-F238E27FC236}">
                  <a16:creationId xmlns:a16="http://schemas.microsoft.com/office/drawing/2014/main" id="{FB2078AC-CD4D-4DB3-9E5B-1C69DB2A4502}"/>
                </a:ext>
              </a:extLst>
            </p:cNvPr>
            <p:cNvGrpSpPr/>
            <p:nvPr/>
          </p:nvGrpSpPr>
          <p:grpSpPr>
            <a:xfrm>
              <a:off x="8556734" y="1431241"/>
              <a:ext cx="2508356" cy="564404"/>
              <a:chOff x="8556734" y="1431240"/>
              <a:chExt cx="2508356" cy="569596"/>
            </a:xfrm>
            <a:noFill/>
          </p:grpSpPr>
          <p:sp>
            <p:nvSpPr>
              <p:cNvPr id="17" name="Rectangle 4">
                <a:extLst>
                  <a:ext uri="{FF2B5EF4-FFF2-40B4-BE49-F238E27FC236}">
                    <a16:creationId xmlns:a16="http://schemas.microsoft.com/office/drawing/2014/main" id="{06879C4D-C888-42E7-9A2D-D885D2F58897}"/>
                  </a:ext>
                </a:extLst>
              </p:cNvPr>
              <p:cNvSpPr/>
              <p:nvPr/>
            </p:nvSpPr>
            <p:spPr>
              <a:xfrm>
                <a:off x="8556734" y="1557132"/>
                <a:ext cx="750435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Efficiency =</a:t>
                </a:r>
              </a:p>
            </p:txBody>
          </p:sp>
          <p:sp>
            <p:nvSpPr>
              <p:cNvPr id="18" name="Rectangle 4">
                <a:extLst>
                  <a:ext uri="{FF2B5EF4-FFF2-40B4-BE49-F238E27FC236}">
                    <a16:creationId xmlns:a16="http://schemas.microsoft.com/office/drawing/2014/main" id="{12CD47AA-5BF6-4424-A4CB-AB2EEFBA6D3D}"/>
                  </a:ext>
                </a:extLst>
              </p:cNvPr>
              <p:cNvSpPr/>
              <p:nvPr/>
            </p:nvSpPr>
            <p:spPr>
              <a:xfrm>
                <a:off x="9695696" y="1431240"/>
                <a:ext cx="1106690" cy="31884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Incremental Sales</a:t>
                </a:r>
              </a:p>
            </p:txBody>
          </p:sp>
          <p:sp>
            <p:nvSpPr>
              <p:cNvPr id="19" name="Rectangle 4">
                <a:extLst>
                  <a:ext uri="{FF2B5EF4-FFF2-40B4-BE49-F238E27FC236}">
                    <a16:creationId xmlns:a16="http://schemas.microsoft.com/office/drawing/2014/main" id="{75555E47-ACA2-44B7-A5A4-6E9B51F75E98}"/>
                  </a:ext>
                </a:extLst>
              </p:cNvPr>
              <p:cNvSpPr/>
              <p:nvPr/>
            </p:nvSpPr>
            <p:spPr>
              <a:xfrm>
                <a:off x="9612370" y="1683030"/>
                <a:ext cx="1256461" cy="31780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896203">
                  <a:defRPr sz="1440" b="1" i="0" u="none" strike="noStrike" kern="1200" spc="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Spends of 1</a:t>
                </a:r>
                <a:r>
                  <a:rPr lang="ja-JP" alt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  <a:ea typeface="ＭＳ Ｐゴシック" panose="020B0600070205080204" pitchFamily="34" charset="-128"/>
                  </a:rPr>
                  <a:t> </a:t>
                </a:r>
                <a:r>
                  <a:rPr lang="en-US" sz="1412" b="1" dirty="0">
                    <a:solidFill>
                      <a:srgbClr val="F79646">
                        <a:lumMod val="75000"/>
                      </a:srgbClr>
                    </a:solidFill>
                    <a:latin typeface="Calibri"/>
                  </a:rPr>
                  <a:t>JPY mio.</a:t>
                </a:r>
              </a:p>
            </p:txBody>
          </p:sp>
          <p:cxnSp>
            <p:nvCxnSpPr>
              <p:cNvPr id="20" name="直線コネクタ 17">
                <a:extLst>
                  <a:ext uri="{FF2B5EF4-FFF2-40B4-BE49-F238E27FC236}">
                    <a16:creationId xmlns:a16="http://schemas.microsoft.com/office/drawing/2014/main" id="{C69F9003-AE2D-4D8A-A426-91B3A70888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8862" y="1719470"/>
                <a:ext cx="1626228" cy="0"/>
              </a:xfrm>
              <a:prstGeom prst="line">
                <a:avLst/>
              </a:prstGeom>
              <a:grp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正方形/長方形 13">
              <a:extLst>
                <a:ext uri="{FF2B5EF4-FFF2-40B4-BE49-F238E27FC236}">
                  <a16:creationId xmlns:a16="http://schemas.microsoft.com/office/drawing/2014/main" id="{CC90DBAE-9718-4222-B94C-CD77C6E5B745}"/>
                </a:ext>
              </a:extLst>
            </p:cNvPr>
            <p:cNvSpPr/>
            <p:nvPr/>
          </p:nvSpPr>
          <p:spPr>
            <a:xfrm>
              <a:off x="8410881" y="1431240"/>
              <a:ext cx="2787347" cy="560565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kumimoji="1" lang="ja-JP" altLang="en-US" sz="1764" dirty="0">
                <a:solidFill>
                  <a:prstClr val="white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551AC27A-F0AA-4BF1-BB48-CBA4AB53D443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1437017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AF853F1-BC9D-40F9-AC27-C5CB62C451D7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4BACC6"/>
                </a:solidFill>
                <a:effectLst/>
                <a:uLnTx/>
                <a:uFillTx/>
                <a:latin typeface="Calibri"/>
                <a:ea typeface="+mn-ea"/>
                <a:cs typeface="Futura Condensed ExtraBold" panose="020B0602020204020303" pitchFamily="34" charset="-79"/>
              </a:rPr>
              <a:t>SECTION 0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6E0C00-2FA5-4291-82D8-B2C174E31976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Futura Condensed ExtraBold" panose="020B0602020204020303" pitchFamily="34" charset="-79"/>
              </a:rPr>
              <a:t>Effectiveness</a:t>
            </a:r>
          </a:p>
        </p:txBody>
      </p:sp>
    </p:spTree>
    <p:extLst>
      <p:ext uri="{BB962C8B-B14F-4D97-AF65-F5344CB8AC3E}">
        <p14:creationId xmlns:p14="http://schemas.microsoft.com/office/powerpoint/2010/main" val="42224789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8908734"/>
              </p:ext>
            </p:extLst>
          </p:nvPr>
        </p:nvGraphicFramePr>
        <p:xfrm>
          <a:off x="1217305" y="1371600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6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445420"/>
              </p:ext>
            </p:extLst>
          </p:nvPr>
        </p:nvGraphicFramePr>
        <p:xfrm>
          <a:off x="316501" y="4343400"/>
          <a:ext cx="10823780" cy="174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48958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934129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1011973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1011973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910823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910823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996357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996357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000’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,35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6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marL="0" algn="ctr" defTabSz="905256" rtl="0" eaLnBrk="1" fontAlgn="b" latinLnBrk="0" hangingPunct="1"/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8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2,22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5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05256" rtl="0" eaLnBrk="1" fontAlgn="b" latinLnBrk="0" hangingPunct="1"/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7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,32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64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IN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C496DDA-3C84-4E7B-9D15-03CCC4658808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9A0A3A-67B9-4E58-AC17-2A5870EB47F6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</p:spTree>
    <p:extLst>
      <p:ext uri="{BB962C8B-B14F-4D97-AF65-F5344CB8AC3E}">
        <p14:creationId xmlns:p14="http://schemas.microsoft.com/office/powerpoint/2010/main" val="324248562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Static -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2434445"/>
              </p:ext>
            </p:extLst>
          </p:nvPr>
        </p:nvGraphicFramePr>
        <p:xfrm>
          <a:off x="1217305" y="1555614"/>
          <a:ext cx="9922976" cy="3016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6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257229"/>
              </p:ext>
            </p:extLst>
          </p:nvPr>
        </p:nvGraphicFramePr>
        <p:xfrm>
          <a:off x="462204" y="4495800"/>
          <a:ext cx="10830481" cy="17041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3381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15487353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63475210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418286328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4281920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213863633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8425645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796445052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0248760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3464468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58846674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077813714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986415056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153854621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2774241345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1133353957"/>
                    </a:ext>
                  </a:extLst>
                </a:gridCol>
                <a:gridCol w="492855">
                  <a:extLst>
                    <a:ext uri="{9D8B030D-6E8A-4147-A177-3AD203B41FA5}">
                      <a16:colId xmlns:a16="http://schemas.microsoft.com/office/drawing/2014/main" val="3549436272"/>
                    </a:ext>
                  </a:extLst>
                </a:gridCol>
              </a:tblGrid>
              <a:tr h="259702">
                <a:tc>
                  <a:txBody>
                    <a:bodyPr/>
                    <a:lstStyle/>
                    <a:p>
                      <a:pPr algn="ctr" fontAlgn="b"/>
                      <a:endParaRPr lang="en-US" sz="7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V 36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B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artnews</a:t>
                      </a:r>
                      <a:endParaRPr kumimoji="0" lang="en-US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ads</a:t>
                      </a:r>
                      <a:endParaRPr kumimoji="0" lang="en-US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ahoo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kumimoji="0" lang="en-US" sz="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DN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317433"/>
                  </a:ext>
                </a:extLst>
              </a:tr>
              <a:tr h="331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7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lang="en-US" sz="7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2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8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,76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4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3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920837"/>
                  </a:ext>
                </a:extLst>
              </a:tr>
              <a:tr h="35955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36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9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1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91E8495-7483-49F4-BCE9-ABED7C6DA55A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1D0408-E174-420A-97C4-C414A7EA9575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</p:spTree>
    <p:extLst>
      <p:ext uri="{BB962C8B-B14F-4D97-AF65-F5344CB8AC3E}">
        <p14:creationId xmlns:p14="http://schemas.microsoft.com/office/powerpoint/2010/main" val="12145482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B9D8B7-7C27-441E-918D-E418AAEA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6DBDB0-9916-4037-8A9A-415003A87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wn Ad : Video- Effectiven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8ED647-8C4E-46F5-95D6-952A9183D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245A833-5A6C-47EC-B325-BA3D983D07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3280699"/>
              </p:ext>
            </p:extLst>
          </p:nvPr>
        </p:nvGraphicFramePr>
        <p:xfrm>
          <a:off x="1217305" y="1699251"/>
          <a:ext cx="9922976" cy="287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6A500B2-138E-4B28-BC5B-CDAB56414FB1}"/>
              </a:ext>
            </a:extLst>
          </p:cNvPr>
          <p:cNvSpPr/>
          <p:nvPr/>
        </p:nvSpPr>
        <p:spPr>
          <a:xfrm>
            <a:off x="5263178" y="1283069"/>
            <a:ext cx="197009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4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ectiveness – Own Ad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1358D2A-C8B1-40FD-859C-BB4614A0F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667715"/>
              </p:ext>
            </p:extLst>
          </p:nvPr>
        </p:nvGraphicFramePr>
        <p:xfrm>
          <a:off x="392696" y="4654627"/>
          <a:ext cx="10823788" cy="13330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3580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319876365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72707075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339223807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202582413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458460232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3321160802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994350331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476256708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2607933860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702998335"/>
                    </a:ext>
                  </a:extLst>
                </a:gridCol>
                <a:gridCol w="617513">
                  <a:extLst>
                    <a:ext uri="{9D8B030D-6E8A-4147-A177-3AD203B41FA5}">
                      <a16:colId xmlns:a16="http://schemas.microsoft.com/office/drawing/2014/main" val="1137571481"/>
                    </a:ext>
                  </a:extLst>
                </a:gridCol>
              </a:tblGrid>
              <a:tr h="506902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</a:p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o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. Sale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7470"/>
                  </a:ext>
                </a:extLst>
              </a:tr>
              <a:tr h="413090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7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48006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B43D11D-D014-43A6-A55D-0E589C0DC29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F570C2-0E31-4ACE-A1C1-4CC17279BC01}"/>
              </a:ext>
            </a:extLst>
          </p:cNvPr>
          <p:cNvSpPr txBox="1"/>
          <p:nvPr/>
        </p:nvSpPr>
        <p:spPr>
          <a:xfrm>
            <a:off x="9463881" y="6226619"/>
            <a:ext cx="273664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Effectiveness [ Incremental Sales / Support]</a:t>
            </a:r>
          </a:p>
        </p:txBody>
      </p:sp>
    </p:spTree>
    <p:extLst>
      <p:ext uri="{BB962C8B-B14F-4D97-AF65-F5344CB8AC3E}">
        <p14:creationId xmlns:p14="http://schemas.microsoft.com/office/powerpoint/2010/main" val="15581948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364549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080CC7-4BD1-442D-B6EF-301B9FC93C2E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015490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8BBD669-A23E-40A1-B27B-734452F50503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AF784F-E31D-4FEC-B3B3-995DE0AC302C}"/>
              </a:ext>
            </a:extLst>
          </p:cNvPr>
          <p:cNvSpPr txBox="1"/>
          <p:nvPr/>
        </p:nvSpPr>
        <p:spPr>
          <a:xfrm>
            <a:off x="853282" y="415759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cs typeface="Futura Condensed ExtraBold" panose="020B0602020204020303" pitchFamily="34" charset="-79"/>
              </a:rPr>
              <a:t>KPI</a:t>
            </a:r>
          </a:p>
        </p:txBody>
      </p:sp>
    </p:spTree>
    <p:extLst>
      <p:ext uri="{BB962C8B-B14F-4D97-AF65-F5344CB8AC3E}">
        <p14:creationId xmlns:p14="http://schemas.microsoft.com/office/powerpoint/2010/main" val="1490123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B57A4EA-D8FB-471E-BFE1-15127E563A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8947807"/>
              </p:ext>
            </p:extLst>
          </p:nvPr>
        </p:nvGraphicFramePr>
        <p:xfrm>
          <a:off x="242888" y="2709962"/>
          <a:ext cx="11494008" cy="3346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D39C2-F9C3-4D5D-A079-C4BC54AD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FA93B4-98A3-41F9-AB25-B7BD2A8EE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odel Fit - KPI – Machine Sa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695FCB-535F-4147-9AA2-C77404508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6284FE-2094-46B1-A821-4D0091068B18}"/>
              </a:ext>
            </a:extLst>
          </p:cNvPr>
          <p:cNvSpPr txBox="1"/>
          <p:nvPr/>
        </p:nvSpPr>
        <p:spPr>
          <a:xfrm>
            <a:off x="2982793" y="2652760"/>
            <a:ext cx="6037942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ctual Vs. Predicted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DB0E8EAA-FDC2-4FAD-AA01-CBB5DCB2677F}"/>
              </a:ext>
            </a:extLst>
          </p:cNvPr>
          <p:cNvSpPr txBox="1">
            <a:spLocks/>
          </p:cNvSpPr>
          <p:nvPr/>
        </p:nvSpPr>
        <p:spPr>
          <a:xfrm>
            <a:off x="237498" y="6058801"/>
            <a:ext cx="11123083" cy="294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4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6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8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ource: Analytic Edge Models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DCD3B02-6923-413D-A268-5E4F8F498272}"/>
              </a:ext>
            </a:extLst>
          </p:cNvPr>
          <p:cNvSpPr txBox="1">
            <a:spLocks/>
          </p:cNvSpPr>
          <p:nvPr/>
        </p:nvSpPr>
        <p:spPr>
          <a:xfrm>
            <a:off x="237498" y="6305550"/>
            <a:ext cx="11123083" cy="294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4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6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8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te: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43E940F-FDA5-4F18-9B80-FF5C5020DF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1075696"/>
              </p:ext>
            </p:extLst>
          </p:nvPr>
        </p:nvGraphicFramePr>
        <p:xfrm>
          <a:off x="3071372" y="1284514"/>
          <a:ext cx="5782909" cy="7451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61647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1490440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1430822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</a:tblGrid>
              <a:tr h="372587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-Squar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PE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372587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el Statistic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.6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3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D995FEB7-4202-4272-83FE-3262ECA645CC}"/>
              </a:ext>
            </a:extLst>
          </p:cNvPr>
          <p:cNvSpPr txBox="1"/>
          <p:nvPr/>
        </p:nvSpPr>
        <p:spPr>
          <a:xfrm rot="16200000">
            <a:off x="-545400" y="3837082"/>
            <a:ext cx="17027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4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Machine Sales</a:t>
            </a:r>
          </a:p>
        </p:txBody>
      </p:sp>
    </p:spTree>
    <p:extLst>
      <p:ext uri="{BB962C8B-B14F-4D97-AF65-F5344CB8AC3E}">
        <p14:creationId xmlns:p14="http://schemas.microsoft.com/office/powerpoint/2010/main" val="16520124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EB4B0E-B479-48F7-A3BD-141C9C7D8E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" name="think-cell Slide" r:id="rId5" imgW="360" imgH="359" progId="TCLayout.ActiveDocument.1">
                  <p:embed/>
                </p:oleObj>
              </mc:Choice>
              <mc:Fallback>
                <p:oleObj name="think-cell Slide" r:id="rId5" imgW="360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EB4B0E-B479-48F7-A3BD-141C9C7D8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19A0211-6607-4A5F-BAC2-5DEB7D8484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40DB0E-8DA7-4BF8-905B-3BC22A896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2E6CA7-B0D6-4A12-8AB7-1A27D85A6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NDG Sales decreased in 2021</a:t>
            </a:r>
            <a:r>
              <a:rPr lang="en-GB" dirty="0"/>
              <a:t> by 23%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9DA35-A44C-4194-919F-12A9F8D79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2" descr="Image result for japan map">
            <a:extLst>
              <a:ext uri="{FF2B5EF4-FFF2-40B4-BE49-F238E27FC236}">
                <a16:creationId xmlns:a16="http://schemas.microsoft.com/office/drawing/2014/main" id="{79BB6904-D578-48E9-93FF-B8D5C44095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862" y="1432500"/>
            <a:ext cx="5625837" cy="4748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DAF8E22A-E920-49D4-AE9E-8DC17EAA3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3998595"/>
              </p:ext>
            </p:extLst>
          </p:nvPr>
        </p:nvGraphicFramePr>
        <p:xfrm>
          <a:off x="3832804" y="4419600"/>
          <a:ext cx="7948923" cy="1303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6935">
                  <a:extLst>
                    <a:ext uri="{9D8B030D-6E8A-4147-A177-3AD203B41FA5}">
                      <a16:colId xmlns:a16="http://schemas.microsoft.com/office/drawing/2014/main" val="1493542758"/>
                    </a:ext>
                  </a:extLst>
                </a:gridCol>
                <a:gridCol w="1029653">
                  <a:extLst>
                    <a:ext uri="{9D8B030D-6E8A-4147-A177-3AD203B41FA5}">
                      <a16:colId xmlns:a16="http://schemas.microsoft.com/office/drawing/2014/main" val="102448080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807309827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581869566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2230307381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155302770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val="4177759271"/>
                    </a:ext>
                  </a:extLst>
                </a:gridCol>
              </a:tblGrid>
              <a:tr h="737091"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Change</a:t>
                      </a:r>
                      <a:b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 vs 2019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52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Change</a:t>
                      </a:r>
                      <a:b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 vs 2020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547595"/>
                  </a:ext>
                </a:extLst>
              </a:tr>
              <a:tr h="566081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chine Sale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,81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2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,31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3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,83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,96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848491"/>
                  </a:ext>
                </a:extLst>
              </a:tr>
            </a:tbl>
          </a:graphicData>
        </a:graphic>
      </p:graphicFrame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97E7E98C-57CE-4757-9930-8B140E5D8726}"/>
              </a:ext>
            </a:extLst>
          </p:cNvPr>
          <p:cNvSpPr txBox="1">
            <a:spLocks/>
          </p:cNvSpPr>
          <p:nvPr/>
        </p:nvSpPr>
        <p:spPr>
          <a:xfrm>
            <a:off x="9942743" y="5603925"/>
            <a:ext cx="2525823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25973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6DD940-A724-449C-9391-91EAEBD38D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6DD940-A724-449C-9391-91EAEBD38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DBE4D63-49CF-44A7-BFF0-97FD0DBCF5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40DB0E-8DA7-4BF8-905B-3BC22A896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2E6CA7-B0D6-4A12-8AB7-1A27D85A6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Business Ques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9DA35-A44C-4194-919F-12A9F8D79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426743-7F12-4F84-9C8B-28610D0A931D}"/>
              </a:ext>
            </a:extLst>
          </p:cNvPr>
          <p:cNvSpPr/>
          <p:nvPr/>
        </p:nvSpPr>
        <p:spPr>
          <a:xfrm>
            <a:off x="236538" y="1409700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the Media and Non-Media impact on Sales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F7CA0AED-1B2D-47C8-9734-A9B4E4294DD1}"/>
              </a:ext>
            </a:extLst>
          </p:cNvPr>
          <p:cNvSpPr/>
          <p:nvPr/>
        </p:nvSpPr>
        <p:spPr>
          <a:xfrm>
            <a:off x="350383" y="1409699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5787786-35C4-47D7-8974-21D9E8499B53}"/>
              </a:ext>
            </a:extLst>
          </p:cNvPr>
          <p:cNvSpPr/>
          <p:nvPr/>
        </p:nvSpPr>
        <p:spPr>
          <a:xfrm>
            <a:off x="607983" y="1533465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1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EB184FF-9B44-4FC5-A7E7-2554E5D31269}"/>
              </a:ext>
            </a:extLst>
          </p:cNvPr>
          <p:cNvSpPr/>
          <p:nvPr/>
        </p:nvSpPr>
        <p:spPr>
          <a:xfrm>
            <a:off x="236538" y="2356835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which Ad drivers to focus on to increase the Sales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F9F2318F-3337-4466-9F31-CAAB38B8BE5D}"/>
              </a:ext>
            </a:extLst>
          </p:cNvPr>
          <p:cNvSpPr/>
          <p:nvPr/>
        </p:nvSpPr>
        <p:spPr>
          <a:xfrm>
            <a:off x="350383" y="2356834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8ECE759-9915-4AE0-9DC0-EE1EBB2A7A1F}"/>
              </a:ext>
            </a:extLst>
          </p:cNvPr>
          <p:cNvSpPr/>
          <p:nvPr/>
        </p:nvSpPr>
        <p:spPr>
          <a:xfrm>
            <a:off x="607983" y="2480600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2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169263B-532A-4ACF-85F7-FA9F7500195C}"/>
              </a:ext>
            </a:extLst>
          </p:cNvPr>
          <p:cNvSpPr/>
          <p:nvPr/>
        </p:nvSpPr>
        <p:spPr>
          <a:xfrm>
            <a:off x="236538" y="3300252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how the Ad drivers spends affect the Sales increase</a:t>
            </a: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1696E77C-B6B3-4A48-99C7-7BFC40581E7D}"/>
              </a:ext>
            </a:extLst>
          </p:cNvPr>
          <p:cNvSpPr/>
          <p:nvPr/>
        </p:nvSpPr>
        <p:spPr>
          <a:xfrm>
            <a:off x="350383" y="3300251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7AE394E-0508-4E86-820D-4BBC700F5E04}"/>
              </a:ext>
            </a:extLst>
          </p:cNvPr>
          <p:cNvSpPr/>
          <p:nvPr/>
        </p:nvSpPr>
        <p:spPr>
          <a:xfrm>
            <a:off x="607983" y="3424017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113178E-0A0F-4A40-BCAF-BDE022A9BA1E}"/>
              </a:ext>
            </a:extLst>
          </p:cNvPr>
          <p:cNvSpPr/>
          <p:nvPr/>
        </p:nvSpPr>
        <p:spPr>
          <a:xfrm>
            <a:off x="236538" y="4247386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which digital media, contribute to increase the Sales</a:t>
            </a:r>
          </a:p>
        </p:txBody>
      </p:sp>
      <p:sp>
        <p:nvSpPr>
          <p:cNvPr id="35" name="Arrow: Chevron 34">
            <a:extLst>
              <a:ext uri="{FF2B5EF4-FFF2-40B4-BE49-F238E27FC236}">
                <a16:creationId xmlns:a16="http://schemas.microsoft.com/office/drawing/2014/main" id="{61A666D6-04BB-4554-93FE-BF01923B5C59}"/>
              </a:ext>
            </a:extLst>
          </p:cNvPr>
          <p:cNvSpPr/>
          <p:nvPr/>
        </p:nvSpPr>
        <p:spPr>
          <a:xfrm>
            <a:off x="350383" y="4247385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EB9F397-C15A-4CE0-AF98-E48D0EC7C869}"/>
              </a:ext>
            </a:extLst>
          </p:cNvPr>
          <p:cNvSpPr/>
          <p:nvPr/>
        </p:nvSpPr>
        <p:spPr>
          <a:xfrm>
            <a:off x="607983" y="4371151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4</a:t>
            </a:r>
            <a:endParaRPr lang="en-IN" sz="2400" b="1" dirty="0">
              <a:solidFill>
                <a:schemeClr val="accent1"/>
              </a:solidFill>
            </a:endParaRPr>
          </a:p>
        </p:txBody>
      </p:sp>
      <p:sp>
        <p:nvSpPr>
          <p:cNvPr id="37" name="Rectangle: Rounded Corners 18">
            <a:extLst>
              <a:ext uri="{FF2B5EF4-FFF2-40B4-BE49-F238E27FC236}">
                <a16:creationId xmlns:a16="http://schemas.microsoft.com/office/drawing/2014/main" id="{737CA194-C757-4511-9AEE-5B8C0FC17817}"/>
              </a:ext>
            </a:extLst>
          </p:cNvPr>
          <p:cNvSpPr/>
          <p:nvPr/>
        </p:nvSpPr>
        <p:spPr>
          <a:xfrm>
            <a:off x="241796" y="5198561"/>
            <a:ext cx="11474450" cy="823369"/>
          </a:xfrm>
          <a:prstGeom prst="roundRect">
            <a:avLst>
              <a:gd name="adj" fmla="val 13375"/>
            </a:avLst>
          </a:prstGeom>
          <a:solidFill>
            <a:srgbClr val="DBEEF4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/>
            <a:r>
              <a:rPr lang="en-US" sz="2000" dirty="0">
                <a:solidFill>
                  <a:schemeClr val="tx1"/>
                </a:solidFill>
              </a:rPr>
              <a:t>To understand the re-allocation of the investment across the Ad drivers to increase the Sales</a:t>
            </a:r>
          </a:p>
        </p:txBody>
      </p:sp>
      <p:sp>
        <p:nvSpPr>
          <p:cNvPr id="38" name="Arrow: Chevron 19">
            <a:extLst>
              <a:ext uri="{FF2B5EF4-FFF2-40B4-BE49-F238E27FC236}">
                <a16:creationId xmlns:a16="http://schemas.microsoft.com/office/drawing/2014/main" id="{508B05C9-72B6-4DAF-81A3-6BDD99797F05}"/>
              </a:ext>
            </a:extLst>
          </p:cNvPr>
          <p:cNvSpPr/>
          <p:nvPr/>
        </p:nvSpPr>
        <p:spPr>
          <a:xfrm>
            <a:off x="355641" y="5198560"/>
            <a:ext cx="827088" cy="827088"/>
          </a:xfrm>
          <a:prstGeom prst="chevron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9" name="Oval 20">
            <a:extLst>
              <a:ext uri="{FF2B5EF4-FFF2-40B4-BE49-F238E27FC236}">
                <a16:creationId xmlns:a16="http://schemas.microsoft.com/office/drawing/2014/main" id="{F5D595BC-A5DD-44D5-9FEA-83790B7648B3}"/>
              </a:ext>
            </a:extLst>
          </p:cNvPr>
          <p:cNvSpPr/>
          <p:nvPr/>
        </p:nvSpPr>
        <p:spPr>
          <a:xfrm>
            <a:off x="613241" y="5322326"/>
            <a:ext cx="575838" cy="57583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5</a:t>
            </a:r>
            <a:endParaRPr lang="en-IN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19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6DAABAD-6D43-4BEE-8224-6AECA5501B2A}"/>
              </a:ext>
            </a:extLst>
          </p:cNvPr>
          <p:cNvSpPr txBox="1"/>
          <p:nvPr/>
        </p:nvSpPr>
        <p:spPr>
          <a:xfrm>
            <a:off x="853282" y="3234266"/>
            <a:ext cx="5867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5400" b="1" dirty="0">
                <a:solidFill>
                  <a:schemeClr val="accent2"/>
                </a:solidFill>
                <a:cs typeface="Futura Condensed ExtraBold" panose="020B0602020204020303" pitchFamily="34" charset="-79"/>
              </a:rPr>
              <a:t>SECTION 0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3E615A-CE8B-4AF5-A997-BBF40432409A}"/>
              </a:ext>
            </a:extLst>
          </p:cNvPr>
          <p:cNvSpPr txBox="1"/>
          <p:nvPr/>
        </p:nvSpPr>
        <p:spPr>
          <a:xfrm>
            <a:off x="853282" y="4157596"/>
            <a:ext cx="58674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eaLnBrk="0" fontAlgn="base" hangingPunct="0">
              <a:spcBef>
                <a:spcPts val="891"/>
              </a:spcBef>
              <a:spcAft>
                <a:spcPts val="891"/>
              </a:spcAft>
              <a:buFont typeface="Arial" pitchFamily="34" charset="0"/>
              <a:buNone/>
            </a:pPr>
            <a:r>
              <a:rPr lang="en-US" sz="5400" b="1" dirty="0">
                <a:solidFill>
                  <a:schemeClr val="bg1"/>
                </a:solidFill>
                <a:ea typeface="Arimo" pitchFamily="34" charset="0"/>
                <a:cs typeface="Arial" pitchFamily="34" charset="0"/>
              </a:rPr>
              <a:t>Due-to &amp; Contribution</a:t>
            </a:r>
          </a:p>
        </p:txBody>
      </p:sp>
    </p:spTree>
    <p:extLst>
      <p:ext uri="{BB962C8B-B14F-4D97-AF65-F5344CB8AC3E}">
        <p14:creationId xmlns:p14="http://schemas.microsoft.com/office/powerpoint/2010/main" val="4245549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80DF65-4860-450D-A833-DFF017A67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80DF65-4860-450D-A833-DFF017A67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653FEFF-7D1B-45A8-9D34-331BCBEE3F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DG Sales declined in 2021 by around 23%</a:t>
            </a:r>
          </a:p>
        </p:txBody>
      </p:sp>
      <p:sp>
        <p:nvSpPr>
          <p:cNvPr id="33" name="Slide Number Placeholder 2">
            <a:extLst>
              <a:ext uri="{FF2B5EF4-FFF2-40B4-BE49-F238E27FC236}">
                <a16:creationId xmlns:a16="http://schemas.microsoft.com/office/drawing/2014/main" id="{4D22C72B-88F1-4346-8051-644CE5E82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16481" y="6675437"/>
            <a:ext cx="576072" cy="365125"/>
          </a:xfr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9</a:t>
            </a:fld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6FD223-A4CE-43B9-B848-5AC59016F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A3B3BE-BFFF-44A0-8CC1-105C08386541}"/>
              </a:ext>
            </a:extLst>
          </p:cNvPr>
          <p:cNvSpPr txBox="1"/>
          <p:nvPr/>
        </p:nvSpPr>
        <p:spPr>
          <a:xfrm>
            <a:off x="80569" y="6226619"/>
            <a:ext cx="60558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dirty="0"/>
              <a:t>Note- Sales includes POS</a:t>
            </a:r>
          </a:p>
          <a:p>
            <a:r>
              <a:rPr lang="en-US" sz="1000" dirty="0">
                <a:solidFill>
                  <a:prstClr val="black"/>
                </a:solidFill>
              </a:rPr>
              <a:t>Source : Analytic Edge Models</a:t>
            </a:r>
            <a:endParaRPr lang="en-IN" sz="10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D600F48-9DD6-4325-B1BA-0133A3F8E0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4206451"/>
              </p:ext>
            </p:extLst>
          </p:nvPr>
        </p:nvGraphicFramePr>
        <p:xfrm>
          <a:off x="1237957" y="1228725"/>
          <a:ext cx="9831019" cy="5271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0">
            <a:extLst>
              <a:ext uri="{FF2B5EF4-FFF2-40B4-BE49-F238E27FC236}">
                <a16:creationId xmlns:a16="http://schemas.microsoft.com/office/drawing/2014/main" id="{FCA2322A-E835-45C6-BB7C-1B311DB61501}"/>
              </a:ext>
            </a:extLst>
          </p:cNvPr>
          <p:cNvSpPr/>
          <p:nvPr/>
        </p:nvSpPr>
        <p:spPr>
          <a:xfrm>
            <a:off x="3951356" y="1905000"/>
            <a:ext cx="762000" cy="284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2.0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794EA4-73DD-449A-BDDE-A57EDD8F05F0}"/>
              </a:ext>
            </a:extLst>
          </p:cNvPr>
          <p:cNvCxnSpPr>
            <a:cxnSpLocks/>
          </p:cNvCxnSpPr>
          <p:nvPr/>
        </p:nvCxnSpPr>
        <p:spPr>
          <a:xfrm flipV="1">
            <a:off x="2986881" y="2047337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3623846-CDC3-4EB6-A20D-498FE65EB774}"/>
              </a:ext>
            </a:extLst>
          </p:cNvPr>
          <p:cNvCxnSpPr>
            <a:cxnSpLocks/>
          </p:cNvCxnSpPr>
          <p:nvPr/>
        </p:nvCxnSpPr>
        <p:spPr>
          <a:xfrm>
            <a:off x="2978078" y="2028202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C17B67A-AC9B-4644-9097-5959AA06778B}"/>
              </a:ext>
            </a:extLst>
          </p:cNvPr>
          <p:cNvCxnSpPr>
            <a:cxnSpLocks/>
          </p:cNvCxnSpPr>
          <p:nvPr/>
        </p:nvCxnSpPr>
        <p:spPr>
          <a:xfrm>
            <a:off x="4713356" y="2039727"/>
            <a:ext cx="1397725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A7613A-3C74-47D5-8362-2FAECAC21775}"/>
              </a:ext>
            </a:extLst>
          </p:cNvPr>
          <p:cNvCxnSpPr>
            <a:cxnSpLocks/>
          </p:cNvCxnSpPr>
          <p:nvPr/>
        </p:nvCxnSpPr>
        <p:spPr>
          <a:xfrm>
            <a:off x="6111081" y="2073610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6CDCE73-1EDA-4D56-8E85-45FCCF73338E}"/>
              </a:ext>
            </a:extLst>
          </p:cNvPr>
          <p:cNvSpPr txBox="1"/>
          <p:nvPr/>
        </p:nvSpPr>
        <p:spPr>
          <a:xfrm>
            <a:off x="2596323" y="2573585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70,81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66E6F3-41E3-45A9-AD29-C9307772CB7B}"/>
              </a:ext>
            </a:extLst>
          </p:cNvPr>
          <p:cNvSpPr txBox="1"/>
          <p:nvPr/>
        </p:nvSpPr>
        <p:spPr>
          <a:xfrm>
            <a:off x="8844721" y="2614077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15,832</a:t>
            </a:r>
          </a:p>
        </p:txBody>
      </p:sp>
      <p:sp>
        <p:nvSpPr>
          <p:cNvPr id="22" name="Rectangle 10">
            <a:extLst>
              <a:ext uri="{FF2B5EF4-FFF2-40B4-BE49-F238E27FC236}">
                <a16:creationId xmlns:a16="http://schemas.microsoft.com/office/drawing/2014/main" id="{2FADA60F-1686-4EF4-AEF2-1DD277F55211}"/>
              </a:ext>
            </a:extLst>
          </p:cNvPr>
          <p:cNvSpPr/>
          <p:nvPr/>
        </p:nvSpPr>
        <p:spPr>
          <a:xfrm>
            <a:off x="7285411" y="1935862"/>
            <a:ext cx="762000" cy="28467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22.9%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C387E66-3A9C-4814-B218-E3788DC82418}"/>
              </a:ext>
            </a:extLst>
          </p:cNvPr>
          <p:cNvCxnSpPr>
            <a:cxnSpLocks/>
          </p:cNvCxnSpPr>
          <p:nvPr/>
        </p:nvCxnSpPr>
        <p:spPr>
          <a:xfrm flipV="1">
            <a:off x="6320936" y="2078199"/>
            <a:ext cx="0" cy="509605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7F2A8E-B1B3-4C1C-855C-D8847B0C1D77}"/>
              </a:ext>
            </a:extLst>
          </p:cNvPr>
          <p:cNvCxnSpPr>
            <a:cxnSpLocks/>
          </p:cNvCxnSpPr>
          <p:nvPr/>
        </p:nvCxnSpPr>
        <p:spPr>
          <a:xfrm>
            <a:off x="6312133" y="2059064"/>
            <a:ext cx="98855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B45D64D-24DE-4F4B-873B-F64FB12C8F8D}"/>
              </a:ext>
            </a:extLst>
          </p:cNvPr>
          <p:cNvCxnSpPr>
            <a:cxnSpLocks/>
          </p:cNvCxnSpPr>
          <p:nvPr/>
        </p:nvCxnSpPr>
        <p:spPr>
          <a:xfrm>
            <a:off x="8047411" y="2070589"/>
            <a:ext cx="1340270" cy="3021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70A9DC0-94A8-4D17-B333-F61045D699A0}"/>
              </a:ext>
            </a:extLst>
          </p:cNvPr>
          <p:cNvCxnSpPr>
            <a:cxnSpLocks/>
          </p:cNvCxnSpPr>
          <p:nvPr/>
        </p:nvCxnSpPr>
        <p:spPr>
          <a:xfrm>
            <a:off x="9387681" y="2104472"/>
            <a:ext cx="0" cy="509605"/>
          </a:xfrm>
          <a:prstGeom prst="line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815594E3-8AEF-4842-AB48-A46D781D8061}"/>
              </a:ext>
            </a:extLst>
          </p:cNvPr>
          <p:cNvSpPr txBox="1"/>
          <p:nvPr/>
        </p:nvSpPr>
        <p:spPr>
          <a:xfrm>
            <a:off x="5720522" y="2577616"/>
            <a:ext cx="869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/>
              <a:t>150,315</a:t>
            </a:r>
          </a:p>
        </p:txBody>
      </p:sp>
      <p:sp>
        <p:nvSpPr>
          <p:cNvPr id="28" name="Text Placeholder 36">
            <a:extLst>
              <a:ext uri="{FF2B5EF4-FFF2-40B4-BE49-F238E27FC236}">
                <a16:creationId xmlns:a16="http://schemas.microsoft.com/office/drawing/2014/main" id="{BB70494C-77B3-4333-B328-3E1720D654B8}"/>
              </a:ext>
            </a:extLst>
          </p:cNvPr>
          <p:cNvSpPr txBox="1">
            <a:spLocks/>
          </p:cNvSpPr>
          <p:nvPr/>
        </p:nvSpPr>
        <p:spPr>
          <a:xfrm>
            <a:off x="9942744" y="5603925"/>
            <a:ext cx="2127020" cy="103638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19 – 52 weeks ending Dec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0 – 52 weeks ending Dec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Y 2021 – 52 weeks ending Dec 2021</a:t>
            </a:r>
          </a:p>
        </p:txBody>
      </p:sp>
    </p:spTree>
    <p:extLst>
      <p:ext uri="{BB962C8B-B14F-4D97-AF65-F5344CB8AC3E}">
        <p14:creationId xmlns:p14="http://schemas.microsoft.com/office/powerpoint/2010/main" val="968382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Po_S_C2_CWO6QLeq3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2e7qxGgIMV2Sy.83ZZ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u1yWr_AZ3PUJgjzEj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u1yWr_AZ3PUJgjzEjBw"/>
</p:tagLst>
</file>

<file path=ppt/theme/theme1.xml><?xml version="1.0" encoding="utf-8"?>
<a:theme xmlns:a="http://schemas.openxmlformats.org/drawingml/2006/main" name="Master Slide">
  <a:themeElements>
    <a:clrScheme name="Custom 16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2060"/>
      </a:accent1>
      <a:accent2>
        <a:srgbClr val="4BACC6"/>
      </a:accent2>
      <a:accent3>
        <a:srgbClr val="C00000"/>
      </a:accent3>
      <a:accent4>
        <a:srgbClr val="111111"/>
      </a:accent4>
      <a:accent5>
        <a:srgbClr val="76923C"/>
      </a:accent5>
      <a:accent6>
        <a:srgbClr val="E36C0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Custom 194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2B3188"/>
    </a:accent1>
    <a:accent2>
      <a:srgbClr val="CD3B3D"/>
    </a:accent2>
    <a:accent3>
      <a:srgbClr val="62A845"/>
    </a:accent3>
    <a:accent4>
      <a:srgbClr val="13889E"/>
    </a:accent4>
    <a:accent5>
      <a:srgbClr val="EC7E4D"/>
    </a:accent5>
    <a:accent6>
      <a:srgbClr val="7F7F7F"/>
    </a:accent6>
    <a:hlink>
      <a:srgbClr val="0000FF"/>
    </a:hlink>
    <a:folHlink>
      <a:srgbClr val="800080"/>
    </a:folHlink>
  </a:clrScheme>
  <a:fontScheme name="Custom 92">
    <a:majorFont>
      <a:latin typeface="Bahnschrift"/>
      <a:ea typeface=""/>
      <a:cs typeface=""/>
    </a:majorFont>
    <a:minorFont>
      <a:latin typeface="Bahnschrif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86</TotalTime>
  <Words>2460</Words>
  <Application>Microsoft Office PowerPoint</Application>
  <PresentationFormat>Custom</PresentationFormat>
  <Paragraphs>1188</Paragraphs>
  <Slides>3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1" baseType="lpstr">
      <vt:lpstr>Arial</vt:lpstr>
      <vt:lpstr>Bahnschrift</vt:lpstr>
      <vt:lpstr>Calibri</vt:lpstr>
      <vt:lpstr>Master Slide</vt:lpstr>
      <vt:lpstr>think-cell Slide</vt:lpstr>
      <vt:lpstr>PowerPoint Presentation</vt:lpstr>
      <vt:lpstr>Project Scope</vt:lpstr>
      <vt:lpstr>Model Inputs:</vt:lpstr>
      <vt:lpstr>PowerPoint Presentation</vt:lpstr>
      <vt:lpstr>Model Fit - KPI – Machine Sales</vt:lpstr>
      <vt:lpstr>NDG Sales decreased in 2021 by 23%</vt:lpstr>
      <vt:lpstr>Business Questions</vt:lpstr>
      <vt:lpstr>PowerPoint Presentation</vt:lpstr>
      <vt:lpstr>NDG Sales declined in 2021 by around 23%</vt:lpstr>
      <vt:lpstr>Total Due-To</vt:lpstr>
      <vt:lpstr>Due-To : Own Ad</vt:lpstr>
      <vt:lpstr>Support Summary : Own Ad</vt:lpstr>
      <vt:lpstr>Due-To : Non-Ad</vt:lpstr>
      <vt:lpstr>Support Summary : Non- Ad</vt:lpstr>
      <vt:lpstr>Own Ad- Volume by year</vt:lpstr>
      <vt:lpstr>Own Ad Volume by year</vt:lpstr>
      <vt:lpstr>Own Ad : Static Volume by year</vt:lpstr>
      <vt:lpstr>Own Ad : Video Volume by year</vt:lpstr>
      <vt:lpstr>Non-Ad Volume by year</vt:lpstr>
      <vt:lpstr>PowerPoint Presentation</vt:lpstr>
      <vt:lpstr>Static remained to be the most efficient media for NDG due to its lower cost compared to the other media tactics. </vt:lpstr>
      <vt:lpstr>Own Ad : Static - Efficiency</vt:lpstr>
      <vt:lpstr>Own Ad : Video- Efficiency</vt:lpstr>
      <vt:lpstr>Efficiency and contribution by Own tactics –2019</vt:lpstr>
      <vt:lpstr>Efficiency and contribution by Own tactics –2020</vt:lpstr>
      <vt:lpstr>Efficiency and contribution by Own tactics –2021</vt:lpstr>
      <vt:lpstr>Efficiency and contribution by Own tactics(Static) –2019</vt:lpstr>
      <vt:lpstr>Efficiency and contribution by Own tactics(Static) –2020</vt:lpstr>
      <vt:lpstr>Efficiency and contribution by Own tactics(Static) –2021</vt:lpstr>
      <vt:lpstr>Efficiency and contribution by Own tactics(Video) –2021</vt:lpstr>
      <vt:lpstr>PowerPoint Presentation</vt:lpstr>
      <vt:lpstr>Own Ad : Effectiveness</vt:lpstr>
      <vt:lpstr>Own Ad : Static - Effectiveness</vt:lpstr>
      <vt:lpstr>Own Ad : Video- Effectivenes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karsubramanian@analytic-edge.com</dc:creator>
  <cp:lastModifiedBy>Kavya Bhat</cp:lastModifiedBy>
  <cp:revision>1439</cp:revision>
  <dcterms:created xsi:type="dcterms:W3CDTF">2016-09-27T16:14:17Z</dcterms:created>
  <dcterms:modified xsi:type="dcterms:W3CDTF">2022-05-20T06:56:41Z</dcterms:modified>
</cp:coreProperties>
</file>